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4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5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7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8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9.xml" ContentType="application/vnd.openxmlformats-officedocument.theme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heme/theme10.xml" ContentType="application/vnd.openxmlformats-officedocument.theme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6" r:id="rId4"/>
    <p:sldMasterId id="2147483678" r:id="rId5"/>
    <p:sldMasterId id="2147483695" r:id="rId6"/>
    <p:sldMasterId id="2147483710" r:id="rId7"/>
    <p:sldMasterId id="2147483777" r:id="rId8"/>
    <p:sldMasterId id="2147483834" r:id="rId9"/>
    <p:sldMasterId id="2147483854" r:id="rId10"/>
    <p:sldMasterId id="2147483911" r:id="rId11"/>
    <p:sldMasterId id="2147483969" r:id="rId12"/>
    <p:sldMasterId id="2147483655" r:id="rId13"/>
    <p:sldMasterId id="2147484047" r:id="rId14"/>
  </p:sldMasterIdLst>
  <p:notesMasterIdLst>
    <p:notesMasterId r:id="rId22"/>
  </p:notesMasterIdLst>
  <p:sldIdLst>
    <p:sldId id="2147477634" r:id="rId15"/>
    <p:sldId id="2147375763" r:id="rId16"/>
    <p:sldId id="2147477577" r:id="rId17"/>
    <p:sldId id="2147477676" r:id="rId18"/>
    <p:sldId id="2147477627" r:id="rId19"/>
    <p:sldId id="2147477675" r:id="rId20"/>
    <p:sldId id="2147477631" r:id="rId21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F5DC88A-F4F1-83A8-AAC8-9E711694AAD7}" name="David Beale" initials="DB" userId="S::david.beale@essencemediacom.com::c94275c9-8e1c-4b9f-badb-02844e3182b1" providerId="AD"/>
  <p188:author id="{60B746AC-F4F6-A0A8-B6A3-6EABD4A72205}" name="Issaree Veerakanit" initials="IV" userId="S::issaree.veerakanit1@essencemediacom.com::882c589f-0b79-4b77-b121-23040f57b8c0" providerId="AD"/>
  <p188:author id="{2051EAD5-68F8-F7DB-DB7F-B973296B82BB}" name="Thomas Katryniak" initials="" userId="S::thomas.katryniak@essencemediacom.com::78a08f01-4d7d-40e6-9c7c-04f7a586f9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1E"/>
    <a:srgbClr val="FFC000"/>
    <a:srgbClr val="009569"/>
    <a:srgbClr val="404E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713"/>
  </p:normalViewPr>
  <p:slideViewPr>
    <p:cSldViewPr snapToGrid="0">
      <p:cViewPr>
        <p:scale>
          <a:sx n="127" d="100"/>
          <a:sy n="127" d="100"/>
        </p:scale>
        <p:origin x="14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6C-4A45-870D-2373E816FEF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6C-4A45-870D-2373E816FEF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6C-4A45-870D-2373E816FEF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6C-4A45-870D-2373E816FEF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6C-4A45-870D-2373E816FEF6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886C-4A45-870D-2373E816FEF6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886C-4A45-870D-2373E816FEF6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86C-4A45-870D-2373E816FEF6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886C-4A45-870D-2373E816FEF6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86C-4A45-870D-2373E816FE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3D-49A0-87EB-8004071B75B1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3D-49A0-87EB-8004071B75B1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3D-49A0-87EB-8004071B75B1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3D-49A0-87EB-8004071B75B1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3D-49A0-87EB-8004071B75B1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F63D-49A0-87EB-8004071B75B1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F63D-49A0-87EB-8004071B75B1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63D-49A0-87EB-8004071B75B1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F63D-49A0-87EB-8004071B75B1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63D-49A0-87EB-8004071B75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A7-4980-8FF0-14C2B3DF1380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A7-4980-8FF0-14C2B3DF1380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A7-4980-8FF0-14C2B3DF1380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A7-4980-8FF0-14C2B3DF1380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A7-4980-8FF0-14C2B3DF1380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9316461982745E-3"/>
                  <c:y val="-2.2121864138273474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9A7-4980-8FF0-14C2B3DF1380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39A7-4980-8FF0-14C2B3DF1380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9A7-4980-8FF0-14C2B3DF1380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39A7-4980-8FF0-14C2B3DF1380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9A7-4980-8FF0-14C2B3DF1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tx>
          <c:spPr>
            <a:ln w="19050" cap="rnd" cmpd="sng" algn="ctr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tx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B$1:$M$1</c:f>
              <c:strCache>
                <c:ptCount val="12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</c:strCache>
            </c:strRef>
          </c:cat>
          <c:val>
            <c:numRef>
              <c:f>Hoja1!$B$2:$M$2</c:f>
              <c:numCache>
                <c:formatCode>General</c:formatCode>
                <c:ptCount val="12"/>
                <c:pt idx="1">
                  <c:v>350</c:v>
                </c:pt>
                <c:pt idx="2">
                  <c:v>400</c:v>
                </c:pt>
                <c:pt idx="4">
                  <c:v>400</c:v>
                </c:pt>
                <c:pt idx="5">
                  <c:v>350</c:v>
                </c:pt>
                <c:pt idx="8">
                  <c:v>350</c:v>
                </c:pt>
                <c:pt idx="9">
                  <c:v>3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CD0-BF40-A970-560CCB80E52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dropLines>
          <c:spPr>
            <a:ln w="9525">
              <a:solidFill>
                <a:schemeClr val="dk1">
                  <a:lumMod val="35000"/>
                  <a:lumOff val="65000"/>
                </a:schemeClr>
              </a:solidFill>
            </a:ln>
            <a:effectLst/>
          </c:spPr>
        </c:dropLines>
        <c:smooth val="0"/>
        <c:axId val="448493296"/>
        <c:axId val="448440832"/>
      </c:lineChart>
      <c:catAx>
        <c:axId val="44849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448440832"/>
        <c:crosses val="autoZero"/>
        <c:auto val="1"/>
        <c:lblAlgn val="ctr"/>
        <c:lblOffset val="100"/>
        <c:noMultiLvlLbl val="0"/>
      </c:catAx>
      <c:valAx>
        <c:axId val="4484408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48493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s-H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cs:styleClr val="auto"/>
    </cs:fontRef>
    <cs:spPr/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915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688F19-BFE6-452C-BDE8-0D5A6B82B694}" type="datetimeFigureOut">
              <a:rPr lang="es-MX" smtClean="0"/>
              <a:t>13/10/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D9D3E-ECF5-42A1-827D-6C9E5FE9A80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517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png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9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069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86083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317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6434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260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755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86144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5052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5014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43340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7797657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10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38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93423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EBB1C4A-6537-649C-7791-23EEE4D66E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66153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60177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8397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5075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443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017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180215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618564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7851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7986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5940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461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99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3932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2083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52019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7498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04927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8596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2102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0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753811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350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90961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2105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27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9364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2995188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8376527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78311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513935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422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20319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9375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6180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075591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0299435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8220689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17839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68564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9415540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2252284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985331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95292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7782872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2692995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17166844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778450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9923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6394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3612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538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79315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741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4606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1391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39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3633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1086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4307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77104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2527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9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2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1" y="804865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F9B129-CF47-4A4C-8EAF-ED47CAE38682}"/>
              </a:ext>
            </a:extLst>
          </p:cNvPr>
          <p:cNvGrpSpPr/>
          <p:nvPr/>
        </p:nvGrpSpPr>
        <p:grpSpPr>
          <a:xfrm>
            <a:off x="609600" y="2240287"/>
            <a:ext cx="4213253" cy="307777"/>
            <a:chOff x="609600" y="2167932"/>
            <a:chExt cx="4213253" cy="3077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8882C5F-5C5A-5A45-BD08-6A4630295363}"/>
                </a:ext>
              </a:extLst>
            </p:cNvPr>
            <p:cNvSpPr txBox="1"/>
            <p:nvPr/>
          </p:nvSpPr>
          <p:spPr>
            <a:xfrm>
              <a:off x="609600" y="2167932"/>
              <a:ext cx="4213253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/>
                <a:t>Powered by </a:t>
              </a:r>
            </a:p>
          </p:txBody>
        </p:sp>
        <p:pic>
          <p:nvPicPr>
            <p:cNvPr id="16" name="Picture 15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29FB1B43-32AB-6241-B807-C6F09E457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00801" y="2238352"/>
              <a:ext cx="1168672" cy="207632"/>
            </a:xfrm>
            <a:prstGeom prst="rect">
              <a:avLst/>
            </a:prstGeom>
          </p:spPr>
        </p:pic>
        <p:pic>
          <p:nvPicPr>
            <p:cNvPr id="17" name="Picture 16" descr="A picture containing kitchenware, necktie, grater, accordion&#10;&#10;Description automatically generated">
              <a:extLst>
                <a:ext uri="{FF2B5EF4-FFF2-40B4-BE49-F238E27FC236}">
                  <a16:creationId xmlns:a16="http://schemas.microsoft.com/office/drawing/2014/main" id="{1AD16CA8-F373-D945-93F4-8B18C14A2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23198" y="2296003"/>
              <a:ext cx="481962" cy="144589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E8232E2-45FA-5745-B39D-DB9B186BFCC1}"/>
                </a:ext>
              </a:extLst>
            </p:cNvPr>
            <p:cNvGrpSpPr/>
            <p:nvPr/>
          </p:nvGrpSpPr>
          <p:grpSpPr>
            <a:xfrm>
              <a:off x="3336721" y="2309024"/>
              <a:ext cx="122249" cy="122249"/>
              <a:chOff x="3632751" y="2253656"/>
              <a:chExt cx="144725" cy="144725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B7AC20B-D916-8D4B-917C-72D0E21C1A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964EE3A-3B66-5C4F-A30E-00F13BA834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96AC07-F03A-9E4F-BF8C-11FDA9D15DF0}"/>
              </a:ext>
            </a:extLst>
          </p:cNvPr>
          <p:cNvCxnSpPr>
            <a:cxnSpLocks/>
          </p:cNvCxnSpPr>
          <p:nvPr/>
        </p:nvCxnSpPr>
        <p:spPr>
          <a:xfrm>
            <a:off x="644685" y="2157720"/>
            <a:ext cx="4037675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F5F6A68-6BCD-C84B-B3D3-2FAFBA0FF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29" y="5633687"/>
            <a:ext cx="2888995" cy="66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1847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8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8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0"/>
            <a:ext cx="3120815" cy="6502400"/>
          </a:xfrm>
        </p:spPr>
        <p:txBody>
          <a:bodyPr anchor="ctr">
            <a:normAutofit/>
          </a:bodyPr>
          <a:lstStyle>
            <a:lvl1pPr>
              <a:defRPr sz="4500"/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5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7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969135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8" y="606553"/>
            <a:ext cx="5740063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/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1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2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2" y="-3701052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7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7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157625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548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9" y="609601"/>
            <a:ext cx="6245995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5" y="4261865"/>
            <a:ext cx="4023169" cy="13795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/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29999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66951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5004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70477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5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18764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9"/>
            <a:ext cx="6536431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81471974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1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20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1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48631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2941639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2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1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2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2540162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515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6" y="5119052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6" y="1662668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1" y="2866233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33851904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6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6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5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41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41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3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8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8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5610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9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5" y="179851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1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6" y="-1414464"/>
            <a:ext cx="2782519" cy="6022347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1" cy="6496051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9" y="162517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7" y="321297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09" y="361444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3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7" y="4780493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609601"/>
            <a:ext cx="3626481" cy="1192743"/>
          </a:xfrm>
        </p:spPr>
        <p:txBody>
          <a:bodyPr>
            <a:normAutofit/>
          </a:bodyPr>
          <a:lstStyle>
            <a:lvl1pPr>
              <a:defRPr sz="4500"/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7" y="21071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7" y="2199982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5" y="336603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9" y="-140854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5" y="568694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8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7" y="6088414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5" y="725446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282852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76575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7" y="2510225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6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/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208438624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79A65935-73AF-4DA8-A919-06AF2809A1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596"/>
          <a:stretch/>
        </p:blipFill>
        <p:spPr>
          <a:xfrm>
            <a:off x="9207115" y="2"/>
            <a:ext cx="2984887" cy="5182049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id="{536460E4-CDFF-47EB-8B21-4830F1706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708027"/>
            <a:ext cx="1144342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25" name="Marcador de Posição do Texto 15">
            <a:extLst>
              <a:ext uri="{FF2B5EF4-FFF2-40B4-BE49-F238E27FC236}">
                <a16:creationId xmlns:a16="http://schemas.microsoft.com/office/drawing/2014/main" id="{BC6E7B4E-69C0-4C3C-8697-9DDA76B900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1" y="1201713"/>
            <a:ext cx="11443428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93EB591-9A0E-46AA-9045-EB3008B3E0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8388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  <p:sp>
        <p:nvSpPr>
          <p:cNvPr id="8" name="Marcador de Posição do Texto 6">
            <a:extLst>
              <a:ext uri="{FF2B5EF4-FFF2-40B4-BE49-F238E27FC236}">
                <a16:creationId xmlns:a16="http://schemas.microsoft.com/office/drawing/2014/main" id="{2BDE4001-201A-47E3-8090-A0810CB9DA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452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8273901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SmartArt 7">
            <a:extLst>
              <a:ext uri="{FF2B5EF4-FFF2-40B4-BE49-F238E27FC236}">
                <a16:creationId xmlns:a16="http://schemas.microsoft.com/office/drawing/2014/main" id="{47434D48-6DBF-4A18-AFC2-0416287AC32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92259" y="1693836"/>
            <a:ext cx="10807484" cy="3715072"/>
          </a:xfrm>
        </p:spPr>
        <p:txBody>
          <a:bodyPr anchor="ctr">
            <a:normAutofit/>
          </a:bodyPr>
          <a:lstStyle>
            <a:lvl1pPr algn="ctr">
              <a:defRPr sz="2400" b="1"/>
            </a:lvl1pPr>
          </a:lstStyle>
          <a:p>
            <a:r>
              <a:rPr lang="es-ES"/>
              <a:t>Haga clic en el icono para agregar un elemento gráfico SmartArt</a:t>
            </a:r>
            <a:endParaRPr lang="pt-PT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685866D5-220C-4EFD-8466-BB12CD664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408223"/>
            <a:ext cx="1133849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17" name="Marcador de Posição do Texto 15">
            <a:extLst>
              <a:ext uri="{FF2B5EF4-FFF2-40B4-BE49-F238E27FC236}">
                <a16:creationId xmlns:a16="http://schemas.microsoft.com/office/drawing/2014/main" id="{7020BC6D-C4C7-47DB-AAE9-331951ECE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901909"/>
            <a:ext cx="11338497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7664253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82607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88256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ource: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1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9" y="1732753"/>
            <a:ext cx="10799867" cy="475199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9438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1221238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97730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352253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830AFF-C79F-8066-8CFD-9D1BBE86F8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3269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79163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5E32D8-CFDD-F631-47A3-76187F7EDA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62517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9228377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596964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329449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85934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D668BFB-7AE6-2B2A-0F1B-47040C06B9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3369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EF0978F-90E4-D76B-961C-72805ADE8C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4113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63B53E-5502-7482-F8B9-A7C4C1E2D8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4092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33871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12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867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7607962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37127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14420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0012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868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2101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9474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47C7E3-6F65-C6E0-1009-5B494C2964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0448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46AFC3-49DA-CB60-1E4D-C6242C7D9C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8005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89095F-CBA9-0776-ED0A-FAB03D7351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5529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5B50F6-35F7-718C-1F0C-C5B564CDF9E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171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464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8025316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2035951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EF41C1-FAFA-0CC5-16FE-9D109EF989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268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0972419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02627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53689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501114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26397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4958703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65184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5447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5986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E04968-7379-7B69-6FE0-4E0FCE3370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13032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657535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31689357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6844868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1932624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8588406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0387988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075884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30B91A-AC76-0D0B-3122-59AC3FE7DF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473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1754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680901-742F-9F90-E2BD-3071E5352F3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1636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35C606-E1D6-1462-9E0B-EF1BA51DB0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6625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34470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2683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612919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FF024E-B5F9-77F7-53E6-08A4BE4FFD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6244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ABA5A0-51B8-4818-9374-54259B4E47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7535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9C0D61-332A-349D-DFB5-C11361A208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683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D1678-4E58-3A7B-1F8A-65B93C05F7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15318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5B96F7-4A7C-DFEC-C1D3-76CA93197C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281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8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E651DD-8F8C-C327-83EE-5DF5D228E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0269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3DFD3D-D3FB-B36C-9D33-9A5E2CABEA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9234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74861798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24260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093543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4840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95973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65867245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7224580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14518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4457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10649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60835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5960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4163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7258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7372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55579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800144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30797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979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5222475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78225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75363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71700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2928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3604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2330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1785884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239303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90121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4962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30954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21915852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189782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97123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69923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1168598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0948201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7530761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533105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2407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178187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06913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8607894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863079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631197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42726282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22761800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2829358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69130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90062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14120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0293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72219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8976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449814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78541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03713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4102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05515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97313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6584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4056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3340078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5470535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3609937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141875424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0915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9521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wh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7A120D8-5636-9A4F-8906-32FAC15D5D2A}"/>
              </a:ext>
            </a:extLst>
          </p:cNvPr>
          <p:cNvSpPr/>
          <p:nvPr/>
        </p:nvSpPr>
        <p:spPr>
          <a:xfrm>
            <a:off x="0" y="0"/>
            <a:ext cx="12192000" cy="192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737705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3FF5F25-B55D-EF45-8D4F-5FA1FB0ABF04}"/>
              </a:ext>
            </a:extLst>
          </p:cNvPr>
          <p:cNvSpPr/>
          <p:nvPr/>
        </p:nvSpPr>
        <p:spPr>
          <a:xfrm>
            <a:off x="4029890" y="1920240"/>
            <a:ext cx="8162110" cy="4575810"/>
          </a:xfrm>
          <a:custGeom>
            <a:avLst/>
            <a:gdLst>
              <a:gd name="connsiteX0" fmla="*/ 1143953 w 8162110"/>
              <a:gd name="connsiteY0" fmla="*/ 0 h 4575810"/>
              <a:gd name="connsiteX1" fmla="*/ 8162110 w 8162110"/>
              <a:gd name="connsiteY1" fmla="*/ 0 h 4575810"/>
              <a:gd name="connsiteX2" fmla="*/ 8162110 w 8162110"/>
              <a:gd name="connsiteY2" fmla="*/ 4575810 h 4575810"/>
              <a:gd name="connsiteX3" fmla="*/ 2318110 w 8162110"/>
              <a:gd name="connsiteY3" fmla="*/ 4575810 h 4575810"/>
              <a:gd name="connsiteX4" fmla="*/ 2066110 w 8162110"/>
              <a:gd name="connsiteY4" fmla="*/ 4323810 h 4575810"/>
              <a:gd name="connsiteX5" fmla="*/ 1814110 w 8162110"/>
              <a:gd name="connsiteY5" fmla="*/ 4575810 h 4575810"/>
              <a:gd name="connsiteX6" fmla="*/ 0 w 8162110"/>
              <a:gd name="connsiteY6" fmla="*/ 4575810 h 457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2110" h="4575810">
                <a:moveTo>
                  <a:pt x="1143953" y="0"/>
                </a:moveTo>
                <a:lnTo>
                  <a:pt x="8162110" y="0"/>
                </a:lnTo>
                <a:lnTo>
                  <a:pt x="8162110" y="4575810"/>
                </a:lnTo>
                <a:lnTo>
                  <a:pt x="2318110" y="4575810"/>
                </a:lnTo>
                <a:cubicBezTo>
                  <a:pt x="2318110" y="4436634"/>
                  <a:pt x="2205286" y="4323810"/>
                  <a:pt x="2066110" y="4323810"/>
                </a:cubicBezTo>
                <a:cubicBezTo>
                  <a:pt x="1926934" y="4323810"/>
                  <a:pt x="1814110" y="4436634"/>
                  <a:pt x="1814110" y="4575810"/>
                </a:cubicBezTo>
                <a:lnTo>
                  <a:pt x="0" y="457581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7FEBA9-C2CA-8346-AF90-6D5EF450509E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12403729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76E50-EFA7-1C46-804E-CB0D4D316B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573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98D378-AB82-9D45-BF79-EC8EF8269A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6C455E-8F77-4547-BEB5-D5A8EEA43578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90136558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3629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362725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9CDF396-1F79-0A43-A175-442AB7F6FB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61840" y="362"/>
            <a:ext cx="6583680" cy="6497638"/>
          </a:xfrm>
          <a:custGeom>
            <a:avLst/>
            <a:gdLst>
              <a:gd name="connsiteX0" fmla="*/ 1624410 w 6583680"/>
              <a:gd name="connsiteY0" fmla="*/ 0 h 6497638"/>
              <a:gd name="connsiteX1" fmla="*/ 6583680 w 6583680"/>
              <a:gd name="connsiteY1" fmla="*/ 0 h 6497638"/>
              <a:gd name="connsiteX2" fmla="*/ 4959271 w 6583680"/>
              <a:gd name="connsiteY2" fmla="*/ 6497638 h 6497638"/>
              <a:gd name="connsiteX3" fmla="*/ 1785964 w 6583680"/>
              <a:gd name="connsiteY3" fmla="*/ 6497638 h 6497638"/>
              <a:gd name="connsiteX4" fmla="*/ 1786160 w 6583680"/>
              <a:gd name="connsiteY4" fmla="*/ 6495688 h 6497638"/>
              <a:gd name="connsiteX5" fmla="*/ 1534160 w 6583680"/>
              <a:gd name="connsiteY5" fmla="*/ 6243688 h 6497638"/>
              <a:gd name="connsiteX6" fmla="*/ 1282160 w 6583680"/>
              <a:gd name="connsiteY6" fmla="*/ 6495688 h 6497638"/>
              <a:gd name="connsiteX7" fmla="*/ 1282357 w 6583680"/>
              <a:gd name="connsiteY7" fmla="*/ 6497638 h 6497638"/>
              <a:gd name="connsiteX8" fmla="*/ 0 w 658368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680" h="6497638">
                <a:moveTo>
                  <a:pt x="1624410" y="0"/>
                </a:moveTo>
                <a:lnTo>
                  <a:pt x="6583680" y="0"/>
                </a:lnTo>
                <a:lnTo>
                  <a:pt x="4959271" y="6497638"/>
                </a:lnTo>
                <a:lnTo>
                  <a:pt x="1785964" y="6497638"/>
                </a:lnTo>
                <a:lnTo>
                  <a:pt x="1786160" y="6495688"/>
                </a:lnTo>
                <a:cubicBezTo>
                  <a:pt x="1786160" y="6356512"/>
                  <a:pt x="1673336" y="6243688"/>
                  <a:pt x="1534160" y="6243688"/>
                </a:cubicBezTo>
                <a:cubicBezTo>
                  <a:pt x="1394984" y="6243688"/>
                  <a:pt x="1282160" y="6356512"/>
                  <a:pt x="1282160" y="6495688"/>
                </a:cubicBezTo>
                <a:lnTo>
                  <a:pt x="128235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0500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asic -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5392949-F42B-1349-B6ED-F209823B19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136592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741514 w 12192000"/>
              <a:gd name="connsiteY3" fmla="*/ 6497638 h 6497638"/>
              <a:gd name="connsiteX4" fmla="*/ 0 w 12192000"/>
              <a:gd name="connsiteY4" fmla="*/ 0 h 6497638"/>
              <a:gd name="connsiteX5" fmla="*/ 5866986 w 12192000"/>
              <a:gd name="connsiteY5" fmla="*/ 0 h 6497638"/>
              <a:gd name="connsiteX6" fmla="*/ 4242577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136592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741514" y="6497638"/>
                </a:lnTo>
                <a:close/>
                <a:moveTo>
                  <a:pt x="0" y="0"/>
                </a:moveTo>
                <a:lnTo>
                  <a:pt x="5866986" y="0"/>
                </a:lnTo>
                <a:lnTo>
                  <a:pt x="424257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012001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24744CA-31FB-8D46-BA94-61401A91EF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948039" cy="6497638"/>
          </a:xfrm>
          <a:custGeom>
            <a:avLst/>
            <a:gdLst>
              <a:gd name="connsiteX0" fmla="*/ 0 w 4948039"/>
              <a:gd name="connsiteY0" fmla="*/ 0 h 6497638"/>
              <a:gd name="connsiteX1" fmla="*/ 1045171 w 4948039"/>
              <a:gd name="connsiteY1" fmla="*/ 0 h 6497638"/>
              <a:gd name="connsiteX2" fmla="*/ 2641600 w 4948039"/>
              <a:gd name="connsiteY2" fmla="*/ 0 h 6497638"/>
              <a:gd name="connsiteX3" fmla="*/ 4948039 w 4948039"/>
              <a:gd name="connsiteY3" fmla="*/ 0 h 6497638"/>
              <a:gd name="connsiteX4" fmla="*/ 3323630 w 4948039"/>
              <a:gd name="connsiteY4" fmla="*/ 6497638 h 6497638"/>
              <a:gd name="connsiteX5" fmla="*/ 0 w 4948039"/>
              <a:gd name="connsiteY5" fmla="*/ 6497638 h 6497638"/>
              <a:gd name="connsiteX6" fmla="*/ 0 w 4948039"/>
              <a:gd name="connsiteY6" fmla="*/ 4180683 h 6497638"/>
              <a:gd name="connsiteX7" fmla="*/ 0 w 4948039"/>
              <a:gd name="connsiteY7" fmla="*/ 1391920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0" y="0"/>
                </a:moveTo>
                <a:lnTo>
                  <a:pt x="1045171" y="0"/>
                </a:lnTo>
                <a:lnTo>
                  <a:pt x="2641600" y="0"/>
                </a:lnTo>
                <a:lnTo>
                  <a:pt x="4948039" y="0"/>
                </a:lnTo>
                <a:lnTo>
                  <a:pt x="3323630" y="6497638"/>
                </a:lnTo>
                <a:lnTo>
                  <a:pt x="0" y="6497638"/>
                </a:lnTo>
                <a:lnTo>
                  <a:pt x="0" y="4180683"/>
                </a:lnTo>
                <a:lnTo>
                  <a:pt x="0" y="139192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756ECA7-E48C-0348-9B3B-5EB99CC875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3962" y="0"/>
            <a:ext cx="4948039" cy="6497638"/>
          </a:xfrm>
          <a:custGeom>
            <a:avLst/>
            <a:gdLst>
              <a:gd name="connsiteX0" fmla="*/ 1624410 w 4948039"/>
              <a:gd name="connsiteY0" fmla="*/ 0 h 6497638"/>
              <a:gd name="connsiteX1" fmla="*/ 4948039 w 4948039"/>
              <a:gd name="connsiteY1" fmla="*/ 0 h 6497638"/>
              <a:gd name="connsiteX2" fmla="*/ 4948039 w 4948039"/>
              <a:gd name="connsiteY2" fmla="*/ 2316957 h 6497638"/>
              <a:gd name="connsiteX3" fmla="*/ 4948039 w 4948039"/>
              <a:gd name="connsiteY3" fmla="*/ 5598160 h 6497638"/>
              <a:gd name="connsiteX4" fmla="*/ 4948039 w 4948039"/>
              <a:gd name="connsiteY4" fmla="*/ 6497638 h 6497638"/>
              <a:gd name="connsiteX5" fmla="*/ 3902869 w 4948039"/>
              <a:gd name="connsiteY5" fmla="*/ 6497638 h 6497638"/>
              <a:gd name="connsiteX6" fmla="*/ 2306439 w 4948039"/>
              <a:gd name="connsiteY6" fmla="*/ 6497638 h 6497638"/>
              <a:gd name="connsiteX7" fmla="*/ 0 w 4948039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1624410" y="0"/>
                </a:moveTo>
                <a:lnTo>
                  <a:pt x="4948039" y="0"/>
                </a:lnTo>
                <a:lnTo>
                  <a:pt x="4948039" y="2316957"/>
                </a:lnTo>
                <a:lnTo>
                  <a:pt x="4948039" y="5598160"/>
                </a:lnTo>
                <a:lnTo>
                  <a:pt x="4948039" y="6497638"/>
                </a:lnTo>
                <a:lnTo>
                  <a:pt x="3902869" y="6497638"/>
                </a:lnTo>
                <a:lnTo>
                  <a:pt x="230643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3FACA75-D11C-A445-BACF-8256874A59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8639" y="0"/>
            <a:ext cx="6114723" cy="6497638"/>
          </a:xfrm>
          <a:custGeom>
            <a:avLst/>
            <a:gdLst>
              <a:gd name="connsiteX0" fmla="*/ 1624409 w 6114723"/>
              <a:gd name="connsiteY0" fmla="*/ 0 h 6497638"/>
              <a:gd name="connsiteX1" fmla="*/ 6114723 w 6114723"/>
              <a:gd name="connsiteY1" fmla="*/ 0 h 6497638"/>
              <a:gd name="connsiteX2" fmla="*/ 4490314 w 6114723"/>
              <a:gd name="connsiteY2" fmla="*/ 6497638 h 6497638"/>
              <a:gd name="connsiteX3" fmla="*/ 3309201 w 6114723"/>
              <a:gd name="connsiteY3" fmla="*/ 6497638 h 6497638"/>
              <a:gd name="connsiteX4" fmla="*/ 3309361 w 6114723"/>
              <a:gd name="connsiteY4" fmla="*/ 6496050 h 6497638"/>
              <a:gd name="connsiteX5" fmla="*/ 3057361 w 6114723"/>
              <a:gd name="connsiteY5" fmla="*/ 6244050 h 6497638"/>
              <a:gd name="connsiteX6" fmla="*/ 2805361 w 6114723"/>
              <a:gd name="connsiteY6" fmla="*/ 6496050 h 6497638"/>
              <a:gd name="connsiteX7" fmla="*/ 2805521 w 6114723"/>
              <a:gd name="connsiteY7" fmla="*/ 6497638 h 6497638"/>
              <a:gd name="connsiteX8" fmla="*/ 0 w 6114723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4723" h="6497638">
                <a:moveTo>
                  <a:pt x="1624409" y="0"/>
                </a:moveTo>
                <a:lnTo>
                  <a:pt x="6114723" y="0"/>
                </a:lnTo>
                <a:lnTo>
                  <a:pt x="4490314" y="6497638"/>
                </a:lnTo>
                <a:lnTo>
                  <a:pt x="3309201" y="6497638"/>
                </a:lnTo>
                <a:lnTo>
                  <a:pt x="3309361" y="6496050"/>
                </a:lnTo>
                <a:cubicBezTo>
                  <a:pt x="3309361" y="6356874"/>
                  <a:pt x="3196537" y="6244050"/>
                  <a:pt x="3057361" y="6244050"/>
                </a:cubicBezTo>
                <a:cubicBezTo>
                  <a:pt x="2918185" y="6244050"/>
                  <a:pt x="2805361" y="6356874"/>
                  <a:pt x="2805361" y="6496050"/>
                </a:cubicBezTo>
                <a:lnTo>
                  <a:pt x="2805521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850E4CA7-3414-3447-AE99-8AC0E9CE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87177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0E8297A-1925-3442-B39E-AF6799BA71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3861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0488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274460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4AEB6E9-5A32-C542-B22F-8A95F294D1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0660" y="0"/>
            <a:ext cx="8091340" cy="6497638"/>
          </a:xfrm>
          <a:custGeom>
            <a:avLst/>
            <a:gdLst>
              <a:gd name="connsiteX0" fmla="*/ 0 w 8091340"/>
              <a:gd name="connsiteY0" fmla="*/ 0 h 6497638"/>
              <a:gd name="connsiteX1" fmla="*/ 8091340 w 8091340"/>
              <a:gd name="connsiteY1" fmla="*/ 0 h 6497638"/>
              <a:gd name="connsiteX2" fmla="*/ 8091340 w 8091340"/>
              <a:gd name="connsiteY2" fmla="*/ 6497638 h 6497638"/>
              <a:gd name="connsiteX3" fmla="*/ 2247180 w 8091340"/>
              <a:gd name="connsiteY3" fmla="*/ 6497638 h 6497638"/>
              <a:gd name="connsiteX4" fmla="*/ 2247340 w 8091340"/>
              <a:gd name="connsiteY4" fmla="*/ 6496050 h 6497638"/>
              <a:gd name="connsiteX5" fmla="*/ 1995340 w 8091340"/>
              <a:gd name="connsiteY5" fmla="*/ 6244050 h 6497638"/>
              <a:gd name="connsiteX6" fmla="*/ 1743340 w 8091340"/>
              <a:gd name="connsiteY6" fmla="*/ 6496050 h 6497638"/>
              <a:gd name="connsiteX7" fmla="*/ 1743500 w 8091340"/>
              <a:gd name="connsiteY7" fmla="*/ 6497638 h 6497638"/>
              <a:gd name="connsiteX8" fmla="*/ 0 w 809134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91340" h="6497638">
                <a:moveTo>
                  <a:pt x="0" y="0"/>
                </a:moveTo>
                <a:lnTo>
                  <a:pt x="8091340" y="0"/>
                </a:lnTo>
                <a:lnTo>
                  <a:pt x="8091340" y="6497638"/>
                </a:lnTo>
                <a:lnTo>
                  <a:pt x="2247180" y="6497638"/>
                </a:lnTo>
                <a:lnTo>
                  <a:pt x="2247340" y="6496050"/>
                </a:lnTo>
                <a:cubicBezTo>
                  <a:pt x="2247340" y="6356874"/>
                  <a:pt x="2134516" y="6244050"/>
                  <a:pt x="1995340" y="6244050"/>
                </a:cubicBezTo>
                <a:cubicBezTo>
                  <a:pt x="1856164" y="6244050"/>
                  <a:pt x="1743340" y="6356874"/>
                  <a:pt x="1743340" y="6496050"/>
                </a:cubicBezTo>
                <a:lnTo>
                  <a:pt x="17435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436813"/>
            <a:ext cx="2514241" cy="311443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2214" y="609600"/>
            <a:ext cx="5831452" cy="56387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31E4E05-C83C-1C4F-A555-318083D89D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7830" y="0"/>
            <a:ext cx="3622914" cy="6497638"/>
          </a:xfrm>
          <a:custGeom>
            <a:avLst/>
            <a:gdLst>
              <a:gd name="connsiteX0" fmla="*/ 0 w 3622914"/>
              <a:gd name="connsiteY0" fmla="*/ 0 h 6497638"/>
              <a:gd name="connsiteX1" fmla="*/ 1998505 w 3622914"/>
              <a:gd name="connsiteY1" fmla="*/ 0 h 6497638"/>
              <a:gd name="connsiteX2" fmla="*/ 3622914 w 3622914"/>
              <a:gd name="connsiteY2" fmla="*/ 6497638 h 6497638"/>
              <a:gd name="connsiteX3" fmla="*/ 1624409 w 362291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2914" h="6497638">
                <a:moveTo>
                  <a:pt x="0" y="0"/>
                </a:moveTo>
                <a:lnTo>
                  <a:pt x="1998505" y="0"/>
                </a:lnTo>
                <a:lnTo>
                  <a:pt x="3622914" y="6497638"/>
                </a:lnTo>
                <a:lnTo>
                  <a:pt x="1624409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06D63-175D-524A-8C0D-287C5255EA82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897702166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A058B1E-06B9-194A-BDEE-F49C12F668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21868" y="1063625"/>
            <a:ext cx="6570133" cy="4767263"/>
          </a:xfrm>
          <a:custGeom>
            <a:avLst/>
            <a:gdLst>
              <a:gd name="connsiteX0" fmla="*/ 1191816 w 6570133"/>
              <a:gd name="connsiteY0" fmla="*/ 0 h 4767263"/>
              <a:gd name="connsiteX1" fmla="*/ 6570133 w 6570133"/>
              <a:gd name="connsiteY1" fmla="*/ 0 h 4767263"/>
              <a:gd name="connsiteX2" fmla="*/ 6570133 w 6570133"/>
              <a:gd name="connsiteY2" fmla="*/ 4767263 h 4767263"/>
              <a:gd name="connsiteX3" fmla="*/ 0 w 6570133"/>
              <a:gd name="connsiteY3" fmla="*/ 4767263 h 476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0133" h="4767263">
                <a:moveTo>
                  <a:pt x="1191816" y="0"/>
                </a:moveTo>
                <a:lnTo>
                  <a:pt x="6570133" y="0"/>
                </a:lnTo>
                <a:lnTo>
                  <a:pt x="6570133" y="4767263"/>
                </a:lnTo>
                <a:lnTo>
                  <a:pt x="0" y="476726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356893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24167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345453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7513084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E272C5-D13A-D942-B952-1D833D58E87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1150" y="0"/>
            <a:ext cx="4060849" cy="6498000"/>
          </a:xfrm>
          <a:custGeom>
            <a:avLst/>
            <a:gdLst>
              <a:gd name="connsiteX0" fmla="*/ 1624500 w 4060848"/>
              <a:gd name="connsiteY0" fmla="*/ 0 h 6497999"/>
              <a:gd name="connsiteX1" fmla="*/ 4060848 w 4060848"/>
              <a:gd name="connsiteY1" fmla="*/ 0 h 6497999"/>
              <a:gd name="connsiteX2" fmla="*/ 4060848 w 4060848"/>
              <a:gd name="connsiteY2" fmla="*/ 6497999 h 6497999"/>
              <a:gd name="connsiteX3" fmla="*/ 0 w 4060848"/>
              <a:gd name="connsiteY3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0848" h="6497999">
                <a:moveTo>
                  <a:pt x="1624500" y="0"/>
                </a:moveTo>
                <a:lnTo>
                  <a:pt x="4060848" y="0"/>
                </a:lnTo>
                <a:lnTo>
                  <a:pt x="4060848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8869646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04916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1D84973-19DB-3C48-A938-6E1DACD5C2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33084" y="0"/>
            <a:ext cx="9758915" cy="6501600"/>
          </a:xfrm>
          <a:custGeom>
            <a:avLst/>
            <a:gdLst>
              <a:gd name="connsiteX0" fmla="*/ 1624501 w 9758915"/>
              <a:gd name="connsiteY0" fmla="*/ 0 h 6501600"/>
              <a:gd name="connsiteX1" fmla="*/ 2400172 w 9758915"/>
              <a:gd name="connsiteY1" fmla="*/ 0 h 6501600"/>
              <a:gd name="connsiteX2" fmla="*/ 4060849 w 9758915"/>
              <a:gd name="connsiteY2" fmla="*/ 0 h 6501600"/>
              <a:gd name="connsiteX3" fmla="*/ 9758915 w 9758915"/>
              <a:gd name="connsiteY3" fmla="*/ 0 h 6501600"/>
              <a:gd name="connsiteX4" fmla="*/ 9758915 w 9758915"/>
              <a:gd name="connsiteY4" fmla="*/ 6501600 h 6501600"/>
              <a:gd name="connsiteX5" fmla="*/ 4060849 w 9758915"/>
              <a:gd name="connsiteY5" fmla="*/ 6501600 h 6501600"/>
              <a:gd name="connsiteX6" fmla="*/ 3913796 w 9758915"/>
              <a:gd name="connsiteY6" fmla="*/ 6501600 h 6501600"/>
              <a:gd name="connsiteX7" fmla="*/ 3914916 w 9758915"/>
              <a:gd name="connsiteY7" fmla="*/ 6496050 h 6501600"/>
              <a:gd name="connsiteX8" fmla="*/ 3662916 w 9758915"/>
              <a:gd name="connsiteY8" fmla="*/ 6244050 h 6501600"/>
              <a:gd name="connsiteX9" fmla="*/ 3410916 w 9758915"/>
              <a:gd name="connsiteY9" fmla="*/ 6496050 h 6501600"/>
              <a:gd name="connsiteX10" fmla="*/ 3412037 w 9758915"/>
              <a:gd name="connsiteY10" fmla="*/ 6501600 h 6501600"/>
              <a:gd name="connsiteX11" fmla="*/ 2400172 w 9758915"/>
              <a:gd name="connsiteY11" fmla="*/ 6501600 h 6501600"/>
              <a:gd name="connsiteX12" fmla="*/ 0 w 9758915"/>
              <a:gd name="connsiteY12" fmla="*/ 6501600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58915" h="6501600">
                <a:moveTo>
                  <a:pt x="1624501" y="0"/>
                </a:moveTo>
                <a:lnTo>
                  <a:pt x="2400172" y="0"/>
                </a:lnTo>
                <a:lnTo>
                  <a:pt x="4060849" y="0"/>
                </a:lnTo>
                <a:lnTo>
                  <a:pt x="9758915" y="0"/>
                </a:lnTo>
                <a:lnTo>
                  <a:pt x="9758915" y="6501600"/>
                </a:lnTo>
                <a:lnTo>
                  <a:pt x="4060849" y="6501600"/>
                </a:lnTo>
                <a:lnTo>
                  <a:pt x="3913796" y="6501600"/>
                </a:lnTo>
                <a:lnTo>
                  <a:pt x="3914916" y="6496050"/>
                </a:lnTo>
                <a:cubicBezTo>
                  <a:pt x="3914916" y="6356874"/>
                  <a:pt x="3802092" y="6244050"/>
                  <a:pt x="3662916" y="6244050"/>
                </a:cubicBezTo>
                <a:cubicBezTo>
                  <a:pt x="3523740" y="6244050"/>
                  <a:pt x="3410916" y="6356874"/>
                  <a:pt x="3410916" y="6496050"/>
                </a:cubicBezTo>
                <a:lnTo>
                  <a:pt x="3412037" y="6501600"/>
                </a:lnTo>
                <a:lnTo>
                  <a:pt x="2400172" y="6501600"/>
                </a:lnTo>
                <a:lnTo>
                  <a:pt x="0" y="650160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115162" cy="341238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96168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78172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CB573B-2568-6246-9F01-9C335F796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31118" cy="6497638"/>
          </a:xfrm>
          <a:custGeom>
            <a:avLst/>
            <a:gdLst>
              <a:gd name="connsiteX0" fmla="*/ 0 w 6231118"/>
              <a:gd name="connsiteY0" fmla="*/ 0 h 6497638"/>
              <a:gd name="connsiteX1" fmla="*/ 6231118 w 6231118"/>
              <a:gd name="connsiteY1" fmla="*/ 0 h 6497638"/>
              <a:gd name="connsiteX2" fmla="*/ 4606709 w 6231118"/>
              <a:gd name="connsiteY2" fmla="*/ 6497638 h 6497638"/>
              <a:gd name="connsiteX3" fmla="*/ 0 w 6231118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1118" h="6497638">
                <a:moveTo>
                  <a:pt x="0" y="0"/>
                </a:moveTo>
                <a:lnTo>
                  <a:pt x="6231118" y="0"/>
                </a:lnTo>
                <a:lnTo>
                  <a:pt x="460670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9F9F02D-42E6-8E46-8C4B-F728CEA443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48113" y="609600"/>
            <a:ext cx="7635875" cy="5376421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330048" cy="254838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208" y="871920"/>
            <a:ext cx="7360458" cy="51141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01967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741548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448284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302845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33960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2478497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61649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 / 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5C9D7FD-4372-984B-82EC-1682388A05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86575" y="0"/>
            <a:ext cx="6905425" cy="6496050"/>
          </a:xfrm>
          <a:custGeom>
            <a:avLst/>
            <a:gdLst>
              <a:gd name="connsiteX0" fmla="*/ 1674037 w 6905425"/>
              <a:gd name="connsiteY0" fmla="*/ 0 h 6496050"/>
              <a:gd name="connsiteX1" fmla="*/ 6905425 w 6905425"/>
              <a:gd name="connsiteY1" fmla="*/ 0 h 6496050"/>
              <a:gd name="connsiteX2" fmla="*/ 6905425 w 6905425"/>
              <a:gd name="connsiteY2" fmla="*/ 6496050 h 6496050"/>
              <a:gd name="connsiteX3" fmla="*/ 1061425 w 6905425"/>
              <a:gd name="connsiteY3" fmla="*/ 6496050 h 6496050"/>
              <a:gd name="connsiteX4" fmla="*/ 809425 w 6905425"/>
              <a:gd name="connsiteY4" fmla="*/ 6244050 h 6496050"/>
              <a:gd name="connsiteX5" fmla="*/ 557425 w 6905425"/>
              <a:gd name="connsiteY5" fmla="*/ 6496050 h 6496050"/>
              <a:gd name="connsiteX6" fmla="*/ 0 w 6905425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5425" h="6496050">
                <a:moveTo>
                  <a:pt x="1674037" y="0"/>
                </a:moveTo>
                <a:lnTo>
                  <a:pt x="6905425" y="0"/>
                </a:lnTo>
                <a:lnTo>
                  <a:pt x="6905425" y="6496050"/>
                </a:lnTo>
                <a:lnTo>
                  <a:pt x="1061425" y="6496050"/>
                </a:lnTo>
                <a:cubicBezTo>
                  <a:pt x="1061425" y="6356874"/>
                  <a:pt x="948601" y="6244050"/>
                  <a:pt x="809425" y="6244050"/>
                </a:cubicBezTo>
                <a:cubicBezTo>
                  <a:pt x="670249" y="6244050"/>
                  <a:pt x="557425" y="6356874"/>
                  <a:pt x="557425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206A2BC-C7D2-1F4A-8EFA-C1457E5BF1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960612" cy="6497638"/>
          </a:xfrm>
          <a:custGeom>
            <a:avLst/>
            <a:gdLst>
              <a:gd name="connsiteX0" fmla="*/ 0 w 6960612"/>
              <a:gd name="connsiteY0" fmla="*/ 0 h 6497638"/>
              <a:gd name="connsiteX1" fmla="*/ 6960612 w 6960612"/>
              <a:gd name="connsiteY1" fmla="*/ 0 h 6497638"/>
              <a:gd name="connsiteX2" fmla="*/ 5286165 w 6960612"/>
              <a:gd name="connsiteY2" fmla="*/ 6497638 h 6497638"/>
              <a:gd name="connsiteX3" fmla="*/ 0 w 6960612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0612" h="6497638"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8697FE-A3E1-4148-AE49-9A90AB99A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985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97338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9645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90D2185-5F86-7749-BB4E-183109B402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2192000 w 12192000"/>
              <a:gd name="connsiteY0" fmla="*/ 2425083 h 6497638"/>
              <a:gd name="connsiteX1" fmla="*/ 12192000 w 12192000"/>
              <a:gd name="connsiteY1" fmla="*/ 6496050 h 6497638"/>
              <a:gd name="connsiteX2" fmla="*/ 11143308 w 12192000"/>
              <a:gd name="connsiteY2" fmla="*/ 6496050 h 6497638"/>
              <a:gd name="connsiteX3" fmla="*/ 0 w 12192000"/>
              <a:gd name="connsiteY3" fmla="*/ 0 h 6497638"/>
              <a:gd name="connsiteX4" fmla="*/ 6960612 w 12192000"/>
              <a:gd name="connsiteY4" fmla="*/ 0 h 6497638"/>
              <a:gd name="connsiteX5" fmla="*/ 5286165 w 12192000"/>
              <a:gd name="connsiteY5" fmla="*/ 6497638 h 6497638"/>
              <a:gd name="connsiteX6" fmla="*/ 0 w 12192000"/>
              <a:gd name="connsiteY6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97638">
                <a:moveTo>
                  <a:pt x="12192000" y="2425083"/>
                </a:moveTo>
                <a:lnTo>
                  <a:pt x="12192000" y="6496050"/>
                </a:lnTo>
                <a:lnTo>
                  <a:pt x="11143308" y="6496050"/>
                </a:lnTo>
                <a:close/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 i="1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F26965-B205-DB42-AEAF-942D75F53F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69605" y="822037"/>
            <a:ext cx="3524708" cy="1865746"/>
          </a:xfrm>
          <a:custGeom>
            <a:avLst/>
            <a:gdLst>
              <a:gd name="connsiteX0" fmla="*/ 3242518 w 3524708"/>
              <a:gd name="connsiteY0" fmla="*/ 0 h 1865746"/>
              <a:gd name="connsiteX1" fmla="*/ 3524708 w 3524708"/>
              <a:gd name="connsiteY1" fmla="*/ 0 h 1865746"/>
              <a:gd name="connsiteX2" fmla="*/ 3044984 w 3524708"/>
              <a:gd name="connsiteY2" fmla="*/ 1865746 h 1865746"/>
              <a:gd name="connsiteX3" fmla="*/ 2762794 w 3524708"/>
              <a:gd name="connsiteY3" fmla="*/ 1865746 h 1865746"/>
              <a:gd name="connsiteX4" fmla="*/ 2689960 w 3524708"/>
              <a:gd name="connsiteY4" fmla="*/ 0 h 1865746"/>
              <a:gd name="connsiteX5" fmla="*/ 2972150 w 3524708"/>
              <a:gd name="connsiteY5" fmla="*/ 0 h 1865746"/>
              <a:gd name="connsiteX6" fmla="*/ 2492426 w 3524708"/>
              <a:gd name="connsiteY6" fmla="*/ 1865746 h 1865746"/>
              <a:gd name="connsiteX7" fmla="*/ 2210236 w 3524708"/>
              <a:gd name="connsiteY7" fmla="*/ 1865746 h 1865746"/>
              <a:gd name="connsiteX8" fmla="*/ 2137401 w 3524708"/>
              <a:gd name="connsiteY8" fmla="*/ 0 h 1865746"/>
              <a:gd name="connsiteX9" fmla="*/ 2419591 w 3524708"/>
              <a:gd name="connsiteY9" fmla="*/ 0 h 1865746"/>
              <a:gd name="connsiteX10" fmla="*/ 1939867 w 3524708"/>
              <a:gd name="connsiteY10" fmla="*/ 1865746 h 1865746"/>
              <a:gd name="connsiteX11" fmla="*/ 1657677 w 3524708"/>
              <a:gd name="connsiteY11" fmla="*/ 1865746 h 1865746"/>
              <a:gd name="connsiteX12" fmla="*/ 1584842 w 3524708"/>
              <a:gd name="connsiteY12" fmla="*/ 0 h 1865746"/>
              <a:gd name="connsiteX13" fmla="*/ 1867032 w 3524708"/>
              <a:gd name="connsiteY13" fmla="*/ 0 h 1865746"/>
              <a:gd name="connsiteX14" fmla="*/ 1387308 w 3524708"/>
              <a:gd name="connsiteY14" fmla="*/ 1865746 h 1865746"/>
              <a:gd name="connsiteX15" fmla="*/ 1105118 w 3524708"/>
              <a:gd name="connsiteY15" fmla="*/ 1865746 h 1865746"/>
              <a:gd name="connsiteX16" fmla="*/ 1032283 w 3524708"/>
              <a:gd name="connsiteY16" fmla="*/ 0 h 1865746"/>
              <a:gd name="connsiteX17" fmla="*/ 1314473 w 3524708"/>
              <a:gd name="connsiteY17" fmla="*/ 0 h 1865746"/>
              <a:gd name="connsiteX18" fmla="*/ 834749 w 3524708"/>
              <a:gd name="connsiteY18" fmla="*/ 1865746 h 1865746"/>
              <a:gd name="connsiteX19" fmla="*/ 552559 w 3524708"/>
              <a:gd name="connsiteY19" fmla="*/ 1865746 h 1865746"/>
              <a:gd name="connsiteX20" fmla="*/ 479724 w 3524708"/>
              <a:gd name="connsiteY20" fmla="*/ 0 h 1865746"/>
              <a:gd name="connsiteX21" fmla="*/ 761914 w 3524708"/>
              <a:gd name="connsiteY21" fmla="*/ 0 h 1865746"/>
              <a:gd name="connsiteX22" fmla="*/ 282190 w 3524708"/>
              <a:gd name="connsiteY22" fmla="*/ 1865746 h 1865746"/>
              <a:gd name="connsiteX23" fmla="*/ 0 w 3524708"/>
              <a:gd name="connsiteY23" fmla="*/ 1865746 h 186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24708" h="1865746">
                <a:moveTo>
                  <a:pt x="3242518" y="0"/>
                </a:moveTo>
                <a:lnTo>
                  <a:pt x="3524708" y="0"/>
                </a:lnTo>
                <a:lnTo>
                  <a:pt x="3044984" y="1865746"/>
                </a:lnTo>
                <a:lnTo>
                  <a:pt x="2762794" y="1865746"/>
                </a:lnTo>
                <a:close/>
                <a:moveTo>
                  <a:pt x="2689960" y="0"/>
                </a:moveTo>
                <a:lnTo>
                  <a:pt x="2972150" y="0"/>
                </a:lnTo>
                <a:lnTo>
                  <a:pt x="2492426" y="1865746"/>
                </a:lnTo>
                <a:lnTo>
                  <a:pt x="2210236" y="1865746"/>
                </a:lnTo>
                <a:close/>
                <a:moveTo>
                  <a:pt x="2137401" y="0"/>
                </a:moveTo>
                <a:lnTo>
                  <a:pt x="2419591" y="0"/>
                </a:lnTo>
                <a:lnTo>
                  <a:pt x="1939867" y="1865746"/>
                </a:lnTo>
                <a:lnTo>
                  <a:pt x="1657677" y="1865746"/>
                </a:lnTo>
                <a:close/>
                <a:moveTo>
                  <a:pt x="1584842" y="0"/>
                </a:moveTo>
                <a:lnTo>
                  <a:pt x="1867032" y="0"/>
                </a:lnTo>
                <a:lnTo>
                  <a:pt x="1387308" y="1865746"/>
                </a:lnTo>
                <a:lnTo>
                  <a:pt x="1105118" y="1865746"/>
                </a:lnTo>
                <a:close/>
                <a:moveTo>
                  <a:pt x="1032283" y="0"/>
                </a:moveTo>
                <a:lnTo>
                  <a:pt x="1314473" y="0"/>
                </a:lnTo>
                <a:lnTo>
                  <a:pt x="834749" y="1865746"/>
                </a:lnTo>
                <a:lnTo>
                  <a:pt x="552559" y="1865746"/>
                </a:lnTo>
                <a:close/>
                <a:moveTo>
                  <a:pt x="479724" y="0"/>
                </a:moveTo>
                <a:lnTo>
                  <a:pt x="761914" y="0"/>
                </a:lnTo>
                <a:lnTo>
                  <a:pt x="282190" y="1865746"/>
                </a:lnTo>
                <a:lnTo>
                  <a:pt x="0" y="186574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6130269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1995247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23508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AF442D-09D5-E949-9926-48F727EB85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1C0B5-0FE4-AA45-86C1-CD72BD879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EDC06073-822D-C148-9EA1-733BA6032B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2CC8F85-F28A-DB4E-8753-4470623EA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62716F3C-0A12-0A43-AAAF-C19A6B6DA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306210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384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9873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48060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318214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07185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4484039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9238779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2797497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25058871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988FC3-040D-EF47-819D-2C866022ED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3026526" cy="6140450"/>
          </a:xfrm>
          <a:custGeom>
            <a:avLst/>
            <a:gdLst>
              <a:gd name="connsiteX0" fmla="*/ 0 w 3026526"/>
              <a:gd name="connsiteY0" fmla="*/ 0 h 6140450"/>
              <a:gd name="connsiteX1" fmla="*/ 3026526 w 3026526"/>
              <a:gd name="connsiteY1" fmla="*/ 0 h 6140450"/>
              <a:gd name="connsiteX2" fmla="*/ 1491414 w 3026526"/>
              <a:gd name="connsiteY2" fmla="*/ 6140450 h 6140450"/>
              <a:gd name="connsiteX3" fmla="*/ 0 w 3026526"/>
              <a:gd name="connsiteY3" fmla="*/ 6140450 h 614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6526" h="6140450">
                <a:moveTo>
                  <a:pt x="0" y="0"/>
                </a:moveTo>
                <a:lnTo>
                  <a:pt x="3026526" y="0"/>
                </a:lnTo>
                <a:lnTo>
                  <a:pt x="1491414" y="6140450"/>
                </a:lnTo>
                <a:lnTo>
                  <a:pt x="0" y="614045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26608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3C2CFA2-B26F-9B4B-99FF-BACD59C72A9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084580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221390 w 12192000"/>
              <a:gd name="connsiteY3" fmla="*/ 6497638 h 6497638"/>
              <a:gd name="connsiteX4" fmla="*/ 0 w 12192000"/>
              <a:gd name="connsiteY4" fmla="*/ 0 h 6497638"/>
              <a:gd name="connsiteX5" fmla="*/ 4267200 w 12192000"/>
              <a:gd name="connsiteY5" fmla="*/ 0 h 6497638"/>
              <a:gd name="connsiteX6" fmla="*/ 4267200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084580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221390" y="6497638"/>
                </a:lnTo>
                <a:close/>
                <a:moveTo>
                  <a:pt x="0" y="0"/>
                </a:moveTo>
                <a:lnTo>
                  <a:pt x="4267200" y="0"/>
                </a:lnTo>
                <a:lnTo>
                  <a:pt x="42672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7183463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7042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74308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44904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2162853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244910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196512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11112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083FB-B098-954D-9DC4-850B3E00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7011782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80570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80266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2579867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62614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5E1A5-F9AA-8E45-87DA-48733FB44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1381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647302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588301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155005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>
                <a:solidFill>
                  <a:srgbClr val="404E5C"/>
                </a:solidFill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 txBox="1">
            <a:spLocks/>
          </p:cNvSpPr>
          <p:nvPr/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A482E0-B01C-F146-BA1B-F2A64B1E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093" y="6335850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9885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9D9B270-FE21-444E-AB80-6A52EC0C5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</p:spTree>
    <p:extLst>
      <p:ext uri="{BB962C8B-B14F-4D97-AF65-F5344CB8AC3E}">
        <p14:creationId xmlns:p14="http://schemas.microsoft.com/office/powerpoint/2010/main" val="50601919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678254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titl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F43660B-81B2-B143-B11D-85302EECFDBE}"/>
              </a:ext>
            </a:extLst>
          </p:cNvPr>
          <p:cNvSpPr/>
          <p:nvPr/>
        </p:nvSpPr>
        <p:spPr>
          <a:xfrm>
            <a:off x="-1" y="169378"/>
            <a:ext cx="6096001" cy="6513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9EEBBFB-5AFB-E546-B708-FD2A696F2A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67241" y="346075"/>
            <a:ext cx="5124760" cy="6165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400" b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4BCEEAE9-2632-734D-A333-1202EB0610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1" y="346075"/>
            <a:ext cx="7067241" cy="616585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/>
              <a:t>Bo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A09681D-22B5-6548-919F-52B5804608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3" y="572255"/>
            <a:ext cx="328492" cy="50392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/>
          <a:lstStyle>
            <a:lvl1pPr>
              <a:defRPr lang="en-US" sz="200" smtClean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>
              <a:defRPr lang="en-US" sz="800" smtClean="0">
                <a:solidFill>
                  <a:schemeClr val="bg2"/>
                </a:solidFill>
              </a:defRPr>
            </a:lvl2pPr>
            <a:lvl3pPr>
              <a:defRPr lang="en-US" sz="800" smtClean="0">
                <a:solidFill>
                  <a:schemeClr val="bg2"/>
                </a:solidFill>
              </a:defRPr>
            </a:lvl3pPr>
            <a:lvl4pPr>
              <a:defRPr lang="en-US" sz="800" smtClean="0">
                <a:solidFill>
                  <a:schemeClr val="bg2"/>
                </a:solidFill>
              </a:defRPr>
            </a:lvl4pPr>
            <a:lvl5pPr>
              <a:defRPr lang="en-US" sz="800">
                <a:solidFill>
                  <a:schemeClr val="bg2"/>
                </a:solidFill>
              </a:defRPr>
            </a:lvl5pPr>
          </a:lstStyle>
          <a:p>
            <a:pPr marL="0" lvl="0" indent="0" algn="ctr">
              <a:buNone/>
            </a:pPr>
            <a:r>
              <a:rPr lang="en-US"/>
              <a:t>Line</a:t>
            </a:r>
          </a:p>
        </p:txBody>
      </p:sp>
      <p:sp>
        <p:nvSpPr>
          <p:cNvPr id="18" name="Slide Number Placeholder 11">
            <a:extLst>
              <a:ext uri="{FF2B5EF4-FFF2-40B4-BE49-F238E27FC236}">
                <a16:creationId xmlns:a16="http://schemas.microsoft.com/office/drawing/2014/main" id="{BF6D8E5A-A926-EA42-9DD8-56755A428205}"/>
              </a:ext>
            </a:extLst>
          </p:cNvPr>
          <p:cNvSpPr txBox="1">
            <a:spLocks/>
          </p:cNvSpPr>
          <p:nvPr/>
        </p:nvSpPr>
        <p:spPr>
          <a:xfrm>
            <a:off x="337856" y="6515474"/>
            <a:ext cx="612000" cy="1720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C3BBC56-5B77-964C-A5B4-F225189E1B1A}" type="slidenum">
              <a:rPr lang="en-US" sz="800" i="0" smtClean="0"/>
              <a:pPr algn="l"/>
              <a:t>‹Nº›</a:t>
            </a:fld>
            <a:endParaRPr lang="en-US" sz="800" i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70018-73A1-A742-95B2-3D6B76F2D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728662"/>
            <a:ext cx="636712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23E93F2-6A96-924E-ADF9-C3E512F7364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71475" y="2054225"/>
            <a:ext cx="6315075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F180C-B320-DC49-8D0B-5BC885F62D2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1550334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2034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0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81003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3591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6179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620333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302921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0E6ED9-CD03-A24A-A1BD-565AA6C21FF6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985600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D686E51-941A-824E-AD7D-9E47C1DA30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28767" y="2980823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22603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5779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01586351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0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603024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9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264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434624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33854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3614767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86615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818468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2017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65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816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103391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10262044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1681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27455290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52768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31807511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213800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31BAC0FB-8425-952C-E9FB-4AAB84D080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60007816-5D90-B5EF-608E-A575A9A2E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BF7E493-879D-DF38-3015-2B9322FA6D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024514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85164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BB0C135-AA3A-2B51-3D0A-A562675CD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5039121" cy="108870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4FAA0A8-6E7A-EA86-CF70-3DDC56A3FC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5039121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D52EF92-6D3F-EED1-FB49-C48294396BFC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791145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C124FBD-F2C4-279C-F9B0-5ABF4EE883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0584" y="1852409"/>
            <a:ext cx="523573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Placeholder 9">
            <a:extLst>
              <a:ext uri="{FF2B5EF4-FFF2-40B4-BE49-F238E27FC236}">
                <a16:creationId xmlns:a16="http://schemas.microsoft.com/office/drawing/2014/main" id="{88A9F1BF-CE47-6154-1BCB-84E3E2ED9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584" y="630452"/>
            <a:ext cx="523573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681E20-3F63-A276-39F5-6FCDBA23897B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B65896-BA90-975B-367C-AE317FB427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1642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7720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1852409"/>
            <a:ext cx="4020056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067361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0"/>
            <a:ext cx="11410790" cy="607679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367067" cy="38414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AB740E27-A29F-492B-08E9-082B59BB4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45316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alt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780262" y="1836110"/>
            <a:ext cx="10411738" cy="5021889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0809" y="2204487"/>
            <a:ext cx="8769567" cy="38206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1D8233-0493-FA29-763F-F87F5DB8DC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15736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1D15AFB-5EB5-6859-330E-5D38D23ABE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99179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0BA3780-E198-F9AC-0BB9-F1C2C8156E4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000" y="1546917"/>
            <a:ext cx="4064000" cy="4401332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7EFA4C51-582F-EAB4-E4E1-3A9AFC449FC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800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2" cy="9164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400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9738E54E-9756-7427-D2F0-6956A56C52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826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A1CE42A-F0CC-F889-601A-FF9A290D0E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8371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4101180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 al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466563"/>
            <a:ext cx="12192000" cy="4391435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3309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4354D-1865-ED5F-009C-780CE8306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ED6D24-311D-8481-73DE-B5F7E4C684D8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3C89EB02-D30D-DD07-85C6-CD7EF8EF47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6000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3BB639-2CF9-9BD7-315B-640082FF33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38691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3368FC9-3152-64DD-900A-43FF7BFBC8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59261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4572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0681A36-BF63-97EC-72E9-BA871BF39F94}"/>
              </a:ext>
            </a:extLst>
          </p:cNvPr>
          <p:cNvCxnSpPr>
            <a:cxnSpLocks/>
          </p:cNvCxnSpPr>
          <p:nvPr userDrawn="1"/>
        </p:nvCxnSpPr>
        <p:spPr>
          <a:xfrm>
            <a:off x="980707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A907E154-177B-6875-738B-AA48E0B73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0707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18577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60B0975-048D-10A5-BE97-E820CA57CAE3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B55C8373-2FAF-826F-6B5F-588CC4B9B8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444A488-AA2C-F040-A0F8-D64B913E3D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1236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 </a:t>
            </a:r>
            <a:br>
              <a:rPr lang="en-GB"/>
            </a:br>
            <a:r>
              <a:rPr lang="en-GB"/>
              <a:t>for listen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AC7785F-1C5C-463C-D340-DD1BA7A6320B}"/>
              </a:ext>
            </a:extLst>
          </p:cNvPr>
          <p:cNvCxnSpPr>
            <a:cxnSpLocks/>
          </p:cNvCxnSpPr>
          <p:nvPr userDrawn="1"/>
        </p:nvCxnSpPr>
        <p:spPr>
          <a:xfrm>
            <a:off x="5751074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ADD4D185-64C2-2715-B28D-7015374C88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02576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73781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7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54117" y="-1"/>
            <a:ext cx="8331866" cy="1882585"/>
          </a:xfrm>
          <a:solidFill>
            <a:schemeClr val="bg2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6218" y="708004"/>
            <a:ext cx="7965782" cy="1174580"/>
          </a:xfrm>
        </p:spPr>
        <p:txBody>
          <a:bodyPr anchor="t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D18BDCF-2CAA-0109-CDBB-C68EA25B6E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5" y="6362533"/>
            <a:ext cx="1169392" cy="3060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F79B367-394D-390C-B619-216A26D7CDD1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68CB876D-855A-C17A-648E-0C55580AA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0447"/>
          <a:stretch/>
        </p:blipFill>
        <p:spPr>
          <a:xfrm>
            <a:off x="0" y="664160"/>
            <a:ext cx="3470500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8657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3429000"/>
            <a:ext cx="12185983" cy="3429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048400" y="-2481943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-1"/>
            <a:ext cx="3430800" cy="343080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0329" y="1"/>
            <a:ext cx="8211671" cy="3428998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vider or sec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EE6174C-8B75-B6C9-0C97-8F6809ED35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" y="0"/>
            <a:ext cx="3430800" cy="3428999"/>
          </a:xfrm>
          <a:noFill/>
        </p:spPr>
        <p:txBody>
          <a:bodyPr tIns="251999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5000" b="0" i="0">
                <a:gradFill>
                  <a:gsLst>
                    <a:gs pos="0">
                      <a:schemeClr val="accent2"/>
                    </a:gs>
                    <a:gs pos="99000">
                      <a:schemeClr val="accent1"/>
                    </a:gs>
                  </a:gsLst>
                  <a:lin ang="0" scaled="1"/>
                </a:gradFill>
                <a:latin typeface="Poppins Thin" pitchFamily="2" charset="77"/>
                <a:cs typeface="Poppins Thin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0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B09BA30-1DEC-1819-B3B4-4905A37F994A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8EA14BF4-7169-3089-97E5-F93D276913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14801" y="3428998"/>
            <a:ext cx="8774265" cy="101047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9AA912B-3510-54DE-244F-D9BBC5C30F2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842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58011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637" y="830948"/>
            <a:ext cx="8340725" cy="4572003"/>
          </a:xfrm>
        </p:spPr>
        <p:txBody>
          <a:bodyPr anchor="ctr"/>
          <a:lstStyle>
            <a:lvl1pPr algn="ctr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</a:t>
            </a:r>
            <a:br>
              <a:rPr lang="en-GB"/>
            </a:br>
            <a:r>
              <a:rPr lang="en-GB"/>
              <a:t>goes her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E75ED0BB-E2C9-7C0C-26E2-BC1652112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8746FD9-2940-C5E7-3A89-0B78583FFE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FD14E3-0BA7-F7B6-B730-48F6007D9B9E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7258B20-4977-CDCF-4986-9219A221F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115858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1045036"/>
            <a:ext cx="12185983" cy="476792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2741" y="1292535"/>
            <a:ext cx="9859424" cy="4272930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ig statement goes her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1C4C770-A668-E884-4124-234CC37016D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4FDA301-1BF5-380B-B3C4-E5F169DE9B7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82F51A6-2172-AC56-BF64-B833C8F9A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4100"/>
          <a:stretch/>
        </p:blipFill>
        <p:spPr>
          <a:xfrm>
            <a:off x="7281207" y="303838"/>
            <a:ext cx="4904777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25119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3033823"/>
            <a:ext cx="2725383" cy="2857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2725383" cy="232687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Browser">
            <a:extLst>
              <a:ext uri="{FF2B5EF4-FFF2-40B4-BE49-F238E27FC236}">
                <a16:creationId xmlns:a16="http://schemas.microsoft.com/office/drawing/2014/main" id="{4CC47954-EA8C-6B3D-7274-E5C0B3CAA158}"/>
              </a:ext>
            </a:extLst>
          </p:cNvPr>
          <p:cNvGrpSpPr/>
          <p:nvPr userDrawn="1"/>
        </p:nvGrpSpPr>
        <p:grpSpPr>
          <a:xfrm>
            <a:off x="3748254" y="904878"/>
            <a:ext cx="8107831" cy="4911542"/>
            <a:chOff x="3690548" y="429354"/>
            <a:chExt cx="7883614" cy="5425662"/>
          </a:xfrm>
        </p:grpSpPr>
        <p:sp>
          <p:nvSpPr>
            <p:cNvPr id="19" name="Wireframe dropshadow">
              <a:extLst>
                <a:ext uri="{FF2B5EF4-FFF2-40B4-BE49-F238E27FC236}">
                  <a16:creationId xmlns:a16="http://schemas.microsoft.com/office/drawing/2014/main" id="{D2354F2C-0E52-DF17-B18B-DB6A228FD3B1}"/>
                </a:ext>
              </a:extLst>
            </p:cNvPr>
            <p:cNvSpPr/>
            <p:nvPr/>
          </p:nvSpPr>
          <p:spPr>
            <a:xfrm>
              <a:off x="3690548" y="429354"/>
              <a:ext cx="7883611" cy="5425662"/>
            </a:xfrm>
            <a:prstGeom prst="roundRect">
              <a:avLst>
                <a:gd name="adj" fmla="val 1875"/>
              </a:avLst>
            </a:prstGeom>
            <a:solidFill>
              <a:srgbClr val="FFFFFF"/>
            </a:solidFill>
            <a:ln>
              <a:noFill/>
            </a:ln>
            <a:effectLst>
              <a:outerShdw blurRad="127000" sx="102000" sy="102000" algn="ctr" rotWithShape="0">
                <a:prstClr val="black">
                  <a:alpha val="1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sp>
          <p:nvSpPr>
            <p:cNvPr id="25" name="Browser menu top">
              <a:extLst>
                <a:ext uri="{FF2B5EF4-FFF2-40B4-BE49-F238E27FC236}">
                  <a16:creationId xmlns:a16="http://schemas.microsoft.com/office/drawing/2014/main" id="{51392A84-07DC-5BF7-D4F9-286803FF7B53}"/>
                </a:ext>
              </a:extLst>
            </p:cNvPr>
            <p:cNvSpPr/>
            <p:nvPr/>
          </p:nvSpPr>
          <p:spPr>
            <a:xfrm>
              <a:off x="3690551" y="429354"/>
              <a:ext cx="7883611" cy="318791"/>
            </a:xfrm>
            <a:prstGeom prst="round2SameRect">
              <a:avLst>
                <a:gd name="adj1" fmla="val 33321"/>
                <a:gd name="adj2" fmla="val 0"/>
              </a:avLst>
            </a:prstGeom>
            <a:gradFill>
              <a:gsLst>
                <a:gs pos="72000">
                  <a:srgbClr val="D8D8D8">
                    <a:lumMod val="85323"/>
                    <a:lumOff val="14677"/>
                  </a:srgbClr>
                </a:gs>
                <a:gs pos="0">
                  <a:srgbClr val="616161">
                    <a:lumMod val="5000"/>
                    <a:lumOff val="95000"/>
                  </a:srgbClr>
                </a:gs>
                <a:gs pos="99000">
                  <a:srgbClr val="616161">
                    <a:lumMod val="30000"/>
                    <a:lumOff val="7000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grpSp>
          <p:nvGrpSpPr>
            <p:cNvPr id="21" name="Browser menu circles">
              <a:extLst>
                <a:ext uri="{FF2B5EF4-FFF2-40B4-BE49-F238E27FC236}">
                  <a16:creationId xmlns:a16="http://schemas.microsoft.com/office/drawing/2014/main" id="{56819352-0518-3256-5831-86AEFC395DB9}"/>
                </a:ext>
              </a:extLst>
            </p:cNvPr>
            <p:cNvGrpSpPr/>
            <p:nvPr/>
          </p:nvGrpSpPr>
          <p:grpSpPr>
            <a:xfrm>
              <a:off x="3832208" y="546802"/>
              <a:ext cx="423588" cy="101090"/>
              <a:chOff x="3832208" y="546802"/>
              <a:chExt cx="423588" cy="101090"/>
            </a:xfrm>
            <a:solidFill>
              <a:srgbClr val="616161">
                <a:lumMod val="60000"/>
                <a:lumOff val="40000"/>
              </a:srgbClr>
            </a:solidFill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C7C791C-90A1-FD07-7ED8-85597FADD868}"/>
                  </a:ext>
                </a:extLst>
              </p:cNvPr>
              <p:cNvSpPr/>
              <p:nvPr/>
            </p:nvSpPr>
            <p:spPr>
              <a:xfrm>
                <a:off x="383220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0B7C597-55B4-7457-91CB-118DB0906453}"/>
                  </a:ext>
                </a:extLst>
              </p:cNvPr>
              <p:cNvSpPr/>
              <p:nvPr/>
            </p:nvSpPr>
            <p:spPr>
              <a:xfrm>
                <a:off x="399771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258CC4DC-5710-D193-135B-EE775BCDC5C6}"/>
                  </a:ext>
                </a:extLst>
              </p:cNvPr>
              <p:cNvSpPr/>
              <p:nvPr/>
            </p:nvSpPr>
            <p:spPr>
              <a:xfrm>
                <a:off x="4168613" y="546802"/>
                <a:ext cx="87183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1D311B7-81CC-1BF0-F5E8-2C26CA54BC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48088" y="1193800"/>
            <a:ext cx="8107362" cy="4622800"/>
          </a:xfrm>
          <a:prstGeom prst="round2SameRect">
            <a:avLst>
              <a:gd name="adj1" fmla="val 0"/>
              <a:gd name="adj2" fmla="val 2012"/>
            </a:avLst>
          </a:prstGeo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863303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49074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1873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8395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7160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0777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9311165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3961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0017096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97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070103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05518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55351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846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5984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13440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69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456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37278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892211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341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3573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660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269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7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96910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5266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6486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853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5340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5043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198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6844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568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893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85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077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31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454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52112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685219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92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4189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0339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7757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68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15713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607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60384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138012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6858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72346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4858606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978111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904323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736683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5765740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825490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5926815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64460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059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009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282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426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2625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117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477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2455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705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0.xml"/><Relationship Id="rId13" Type="http://schemas.openxmlformats.org/officeDocument/2006/relationships/slideLayout" Target="../slideLayouts/slideLayout375.xml"/><Relationship Id="rId3" Type="http://schemas.openxmlformats.org/officeDocument/2006/relationships/slideLayout" Target="../slideLayouts/slideLayout365.xml"/><Relationship Id="rId7" Type="http://schemas.openxmlformats.org/officeDocument/2006/relationships/slideLayout" Target="../slideLayouts/slideLayout369.xml"/><Relationship Id="rId12" Type="http://schemas.openxmlformats.org/officeDocument/2006/relationships/slideLayout" Target="../slideLayouts/slideLayout374.xml"/><Relationship Id="rId2" Type="http://schemas.openxmlformats.org/officeDocument/2006/relationships/slideLayout" Target="../slideLayouts/slideLayout364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slideLayout" Target="../slideLayouts/slideLayout373.xml"/><Relationship Id="rId5" Type="http://schemas.openxmlformats.org/officeDocument/2006/relationships/slideLayout" Target="../slideLayouts/slideLayout367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372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Relationship Id="rId14" Type="http://schemas.openxmlformats.org/officeDocument/2006/relationships/slideLayout" Target="../slideLayouts/slideLayout37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4.xml"/><Relationship Id="rId13" Type="http://schemas.openxmlformats.org/officeDocument/2006/relationships/slideLayout" Target="../slideLayouts/slideLayout389.xml"/><Relationship Id="rId18" Type="http://schemas.openxmlformats.org/officeDocument/2006/relationships/slideLayout" Target="../slideLayouts/slideLayout394.xml"/><Relationship Id="rId3" Type="http://schemas.openxmlformats.org/officeDocument/2006/relationships/slideLayout" Target="../slideLayouts/slideLayout379.xml"/><Relationship Id="rId21" Type="http://schemas.openxmlformats.org/officeDocument/2006/relationships/image" Target="../media/image22.svg"/><Relationship Id="rId7" Type="http://schemas.openxmlformats.org/officeDocument/2006/relationships/slideLayout" Target="../slideLayouts/slideLayout383.xml"/><Relationship Id="rId12" Type="http://schemas.openxmlformats.org/officeDocument/2006/relationships/slideLayout" Target="../slideLayouts/slideLayout388.xml"/><Relationship Id="rId17" Type="http://schemas.openxmlformats.org/officeDocument/2006/relationships/slideLayout" Target="../slideLayouts/slideLayout393.xml"/><Relationship Id="rId2" Type="http://schemas.openxmlformats.org/officeDocument/2006/relationships/slideLayout" Target="../slideLayouts/slideLayout378.xml"/><Relationship Id="rId16" Type="http://schemas.openxmlformats.org/officeDocument/2006/relationships/slideLayout" Target="../slideLayouts/slideLayout392.xml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377.xml"/><Relationship Id="rId6" Type="http://schemas.openxmlformats.org/officeDocument/2006/relationships/slideLayout" Target="../slideLayouts/slideLayout382.xml"/><Relationship Id="rId11" Type="http://schemas.openxmlformats.org/officeDocument/2006/relationships/slideLayout" Target="../slideLayouts/slideLayout387.xml"/><Relationship Id="rId5" Type="http://schemas.openxmlformats.org/officeDocument/2006/relationships/slideLayout" Target="../slideLayouts/slideLayout381.xml"/><Relationship Id="rId15" Type="http://schemas.openxmlformats.org/officeDocument/2006/relationships/slideLayout" Target="../slideLayouts/slideLayout391.xml"/><Relationship Id="rId10" Type="http://schemas.openxmlformats.org/officeDocument/2006/relationships/slideLayout" Target="../slideLayouts/slideLayout386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380.xml"/><Relationship Id="rId9" Type="http://schemas.openxmlformats.org/officeDocument/2006/relationships/slideLayout" Target="../slideLayouts/slideLayout385.xml"/><Relationship Id="rId14" Type="http://schemas.openxmlformats.org/officeDocument/2006/relationships/slideLayout" Target="../slideLayouts/slideLayout39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gi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55" Type="http://schemas.openxmlformats.org/officeDocument/2006/relationships/slideLayout" Target="../slideLayouts/slideLayout102.xml"/><Relationship Id="rId6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8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52.xml"/><Relationship Id="rId61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56" Type="http://schemas.openxmlformats.org/officeDocument/2006/relationships/slideLayout" Target="../slideLayouts/slideLayout103.xml"/><Relationship Id="rId64" Type="http://schemas.openxmlformats.org/officeDocument/2006/relationships/theme" Target="../theme/theme4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59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slideLayout" Target="../slideLayouts/slideLayout101.xml"/><Relationship Id="rId6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57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Relationship Id="rId60" Type="http://schemas.openxmlformats.org/officeDocument/2006/relationships/slideLayout" Target="../slideLayouts/slideLayout107.xml"/><Relationship Id="rId65" Type="http://schemas.openxmlformats.org/officeDocument/2006/relationships/image" Target="../media/image6.gif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9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44.xml"/><Relationship Id="rId42" Type="http://schemas.openxmlformats.org/officeDocument/2006/relationships/slideLayout" Target="../slideLayouts/slideLayout152.xml"/><Relationship Id="rId47" Type="http://schemas.openxmlformats.org/officeDocument/2006/relationships/slideLayout" Target="../slideLayouts/slideLayout157.xml"/><Relationship Id="rId50" Type="http://schemas.openxmlformats.org/officeDocument/2006/relationships/slideLayout" Target="../slideLayouts/slideLayout160.xml"/><Relationship Id="rId55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slideLayout" Target="../slideLayouts/slideLayout142.xml"/><Relationship Id="rId37" Type="http://schemas.openxmlformats.org/officeDocument/2006/relationships/slideLayout" Target="../slideLayouts/slideLayout147.xml"/><Relationship Id="rId40" Type="http://schemas.openxmlformats.org/officeDocument/2006/relationships/slideLayout" Target="../slideLayouts/slideLayout150.xml"/><Relationship Id="rId45" Type="http://schemas.openxmlformats.org/officeDocument/2006/relationships/slideLayout" Target="../slideLayouts/slideLayout155.xml"/><Relationship Id="rId53" Type="http://schemas.openxmlformats.org/officeDocument/2006/relationships/slideLayout" Target="../slideLayouts/slideLayout163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slideLayout" Target="../slideLayouts/slideLayout140.xml"/><Relationship Id="rId35" Type="http://schemas.openxmlformats.org/officeDocument/2006/relationships/slideLayout" Target="../slideLayouts/slideLayout145.xml"/><Relationship Id="rId43" Type="http://schemas.openxmlformats.org/officeDocument/2006/relationships/slideLayout" Target="../slideLayouts/slideLayout153.xml"/><Relationship Id="rId48" Type="http://schemas.openxmlformats.org/officeDocument/2006/relationships/slideLayout" Target="../slideLayouts/slideLayout158.xml"/><Relationship Id="rId56" Type="http://schemas.openxmlformats.org/officeDocument/2006/relationships/slideLayout" Target="../slideLayouts/slideLayout166.xml"/><Relationship Id="rId8" Type="http://schemas.openxmlformats.org/officeDocument/2006/relationships/slideLayout" Target="../slideLayouts/slideLayout118.xml"/><Relationship Id="rId51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43.xml"/><Relationship Id="rId38" Type="http://schemas.openxmlformats.org/officeDocument/2006/relationships/slideLayout" Target="../slideLayouts/slideLayout148.xml"/><Relationship Id="rId4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51.xml"/><Relationship Id="rId54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36" Type="http://schemas.openxmlformats.org/officeDocument/2006/relationships/slideLayout" Target="../slideLayouts/slideLayout146.xml"/><Relationship Id="rId49" Type="http://schemas.openxmlformats.org/officeDocument/2006/relationships/slideLayout" Target="../slideLayouts/slideLayout159.xml"/><Relationship Id="rId57" Type="http://schemas.openxmlformats.org/officeDocument/2006/relationships/theme" Target="../theme/theme5.xml"/><Relationship Id="rId10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41.xml"/><Relationship Id="rId44" Type="http://schemas.openxmlformats.org/officeDocument/2006/relationships/slideLayout" Target="../slideLayouts/slideLayout154.xml"/><Relationship Id="rId52" Type="http://schemas.openxmlformats.org/officeDocument/2006/relationships/slideLayout" Target="../slideLayouts/slideLayout1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9.xml"/><Relationship Id="rId21" Type="http://schemas.openxmlformats.org/officeDocument/2006/relationships/image" Target="../media/image15.png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203.xml"/><Relationship Id="rId26" Type="http://schemas.openxmlformats.org/officeDocument/2006/relationships/slideLayout" Target="../slideLayouts/slideLayout211.xml"/><Relationship Id="rId39" Type="http://schemas.openxmlformats.org/officeDocument/2006/relationships/slideLayout" Target="../slideLayouts/slideLayout224.xml"/><Relationship Id="rId21" Type="http://schemas.openxmlformats.org/officeDocument/2006/relationships/slideLayout" Target="../slideLayouts/slideLayout206.xml"/><Relationship Id="rId34" Type="http://schemas.openxmlformats.org/officeDocument/2006/relationships/slideLayout" Target="../slideLayouts/slideLayout219.xml"/><Relationship Id="rId42" Type="http://schemas.openxmlformats.org/officeDocument/2006/relationships/slideLayout" Target="../slideLayouts/slideLayout227.xml"/><Relationship Id="rId47" Type="http://schemas.openxmlformats.org/officeDocument/2006/relationships/slideLayout" Target="../slideLayouts/slideLayout232.xml"/><Relationship Id="rId50" Type="http://schemas.openxmlformats.org/officeDocument/2006/relationships/slideLayout" Target="../slideLayouts/slideLayout235.xml"/><Relationship Id="rId55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9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196.xml"/><Relationship Id="rId24" Type="http://schemas.openxmlformats.org/officeDocument/2006/relationships/slideLayout" Target="../slideLayouts/slideLayout209.xml"/><Relationship Id="rId32" Type="http://schemas.openxmlformats.org/officeDocument/2006/relationships/slideLayout" Target="../slideLayouts/slideLayout217.xml"/><Relationship Id="rId37" Type="http://schemas.openxmlformats.org/officeDocument/2006/relationships/slideLayout" Target="../slideLayouts/slideLayout222.xml"/><Relationship Id="rId40" Type="http://schemas.openxmlformats.org/officeDocument/2006/relationships/slideLayout" Target="../slideLayouts/slideLayout225.xml"/><Relationship Id="rId45" Type="http://schemas.openxmlformats.org/officeDocument/2006/relationships/slideLayout" Target="../slideLayouts/slideLayout230.xml"/><Relationship Id="rId53" Type="http://schemas.openxmlformats.org/officeDocument/2006/relationships/slideLayout" Target="../slideLayouts/slideLayout238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90.xml"/><Relationship Id="rId19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Relationship Id="rId22" Type="http://schemas.openxmlformats.org/officeDocument/2006/relationships/slideLayout" Target="../slideLayouts/slideLayout207.xml"/><Relationship Id="rId27" Type="http://schemas.openxmlformats.org/officeDocument/2006/relationships/slideLayout" Target="../slideLayouts/slideLayout212.xml"/><Relationship Id="rId30" Type="http://schemas.openxmlformats.org/officeDocument/2006/relationships/slideLayout" Target="../slideLayouts/slideLayout215.xml"/><Relationship Id="rId35" Type="http://schemas.openxmlformats.org/officeDocument/2006/relationships/slideLayout" Target="../slideLayouts/slideLayout220.xml"/><Relationship Id="rId43" Type="http://schemas.openxmlformats.org/officeDocument/2006/relationships/slideLayout" Target="../slideLayouts/slideLayout228.xml"/><Relationship Id="rId48" Type="http://schemas.openxmlformats.org/officeDocument/2006/relationships/slideLayout" Target="../slideLayouts/slideLayout233.xml"/><Relationship Id="rId56" Type="http://schemas.openxmlformats.org/officeDocument/2006/relationships/slideLayout" Target="../slideLayouts/slideLayout241.xml"/><Relationship Id="rId8" Type="http://schemas.openxmlformats.org/officeDocument/2006/relationships/slideLayout" Target="../slideLayouts/slideLayout193.xml"/><Relationship Id="rId51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5" Type="http://schemas.openxmlformats.org/officeDocument/2006/relationships/slideLayout" Target="../slideLayouts/slideLayout210.xml"/><Relationship Id="rId33" Type="http://schemas.openxmlformats.org/officeDocument/2006/relationships/slideLayout" Target="../slideLayouts/slideLayout218.xml"/><Relationship Id="rId38" Type="http://schemas.openxmlformats.org/officeDocument/2006/relationships/slideLayout" Target="../slideLayouts/slideLayout223.xml"/><Relationship Id="rId46" Type="http://schemas.openxmlformats.org/officeDocument/2006/relationships/slideLayout" Target="../slideLayouts/slideLayout231.xml"/><Relationship Id="rId20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26.xml"/><Relationship Id="rId54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0.xml"/><Relationship Id="rId23" Type="http://schemas.openxmlformats.org/officeDocument/2006/relationships/slideLayout" Target="../slideLayouts/slideLayout208.xml"/><Relationship Id="rId28" Type="http://schemas.openxmlformats.org/officeDocument/2006/relationships/slideLayout" Target="../slideLayouts/slideLayout213.xml"/><Relationship Id="rId36" Type="http://schemas.openxmlformats.org/officeDocument/2006/relationships/slideLayout" Target="../slideLayouts/slideLayout221.xml"/><Relationship Id="rId49" Type="http://schemas.openxmlformats.org/officeDocument/2006/relationships/slideLayout" Target="../slideLayouts/slideLayout234.xml"/><Relationship Id="rId57" Type="http://schemas.openxmlformats.org/officeDocument/2006/relationships/theme" Target="../theme/theme7.xml"/><Relationship Id="rId10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16.xml"/><Relationship Id="rId44" Type="http://schemas.openxmlformats.org/officeDocument/2006/relationships/slideLayout" Target="../slideLayouts/slideLayout229.xml"/><Relationship Id="rId52" Type="http://schemas.openxmlformats.org/officeDocument/2006/relationships/slideLayout" Target="../slideLayouts/slideLayout23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slideLayout" Target="../slideLayouts/slideLayout267.xml"/><Relationship Id="rId39" Type="http://schemas.openxmlformats.org/officeDocument/2006/relationships/slideLayout" Target="../slideLayouts/slideLayout280.xml"/><Relationship Id="rId21" Type="http://schemas.openxmlformats.org/officeDocument/2006/relationships/slideLayout" Target="../slideLayouts/slideLayout262.xml"/><Relationship Id="rId34" Type="http://schemas.openxmlformats.org/officeDocument/2006/relationships/slideLayout" Target="../slideLayouts/slideLayout275.xml"/><Relationship Id="rId42" Type="http://schemas.openxmlformats.org/officeDocument/2006/relationships/slideLayout" Target="../slideLayouts/slideLayout283.xml"/><Relationship Id="rId47" Type="http://schemas.openxmlformats.org/officeDocument/2006/relationships/slideLayout" Target="../slideLayouts/slideLayout288.xml"/><Relationship Id="rId50" Type="http://schemas.openxmlformats.org/officeDocument/2006/relationships/slideLayout" Target="../slideLayouts/slideLayout291.xml"/><Relationship Id="rId55" Type="http://schemas.openxmlformats.org/officeDocument/2006/relationships/slideLayout" Target="../slideLayouts/slideLayout296.xml"/><Relationship Id="rId7" Type="http://schemas.openxmlformats.org/officeDocument/2006/relationships/slideLayout" Target="../slideLayouts/slideLayout248.xml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9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52.xml"/><Relationship Id="rId24" Type="http://schemas.openxmlformats.org/officeDocument/2006/relationships/slideLayout" Target="../slideLayouts/slideLayout265.xml"/><Relationship Id="rId32" Type="http://schemas.openxmlformats.org/officeDocument/2006/relationships/slideLayout" Target="../slideLayouts/slideLayout273.xml"/><Relationship Id="rId37" Type="http://schemas.openxmlformats.org/officeDocument/2006/relationships/slideLayout" Target="../slideLayouts/slideLayout278.xml"/><Relationship Id="rId40" Type="http://schemas.openxmlformats.org/officeDocument/2006/relationships/slideLayout" Target="../slideLayouts/slideLayout281.xml"/><Relationship Id="rId45" Type="http://schemas.openxmlformats.org/officeDocument/2006/relationships/slideLayout" Target="../slideLayouts/slideLayout286.xml"/><Relationship Id="rId53" Type="http://schemas.openxmlformats.org/officeDocument/2006/relationships/slideLayout" Target="../slideLayouts/slideLayout294.xml"/><Relationship Id="rId58" Type="http://schemas.openxmlformats.org/officeDocument/2006/relationships/theme" Target="../theme/theme8.xml"/><Relationship Id="rId5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slideLayout" Target="../slideLayouts/slideLayout268.xml"/><Relationship Id="rId30" Type="http://schemas.openxmlformats.org/officeDocument/2006/relationships/slideLayout" Target="../slideLayouts/slideLayout271.xml"/><Relationship Id="rId35" Type="http://schemas.openxmlformats.org/officeDocument/2006/relationships/slideLayout" Target="../slideLayouts/slideLayout276.xml"/><Relationship Id="rId43" Type="http://schemas.openxmlformats.org/officeDocument/2006/relationships/slideLayout" Target="../slideLayouts/slideLayout284.xml"/><Relationship Id="rId48" Type="http://schemas.openxmlformats.org/officeDocument/2006/relationships/slideLayout" Target="../slideLayouts/slideLayout289.xml"/><Relationship Id="rId56" Type="http://schemas.openxmlformats.org/officeDocument/2006/relationships/slideLayout" Target="../slideLayouts/slideLayout297.xml"/><Relationship Id="rId8" Type="http://schemas.openxmlformats.org/officeDocument/2006/relationships/slideLayout" Target="../slideLayouts/slideLayout249.xml"/><Relationship Id="rId51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slideLayout" Target="../slideLayouts/slideLayout266.xml"/><Relationship Id="rId33" Type="http://schemas.openxmlformats.org/officeDocument/2006/relationships/slideLayout" Target="../slideLayouts/slideLayout274.xml"/><Relationship Id="rId38" Type="http://schemas.openxmlformats.org/officeDocument/2006/relationships/slideLayout" Target="../slideLayouts/slideLayout279.xml"/><Relationship Id="rId46" Type="http://schemas.openxmlformats.org/officeDocument/2006/relationships/slideLayout" Target="../slideLayouts/slideLayout287.xml"/><Relationship Id="rId59" Type="http://schemas.openxmlformats.org/officeDocument/2006/relationships/image" Target="../media/image6.gif"/><Relationship Id="rId20" Type="http://schemas.openxmlformats.org/officeDocument/2006/relationships/slideLayout" Target="../slideLayouts/slideLayout261.xml"/><Relationship Id="rId41" Type="http://schemas.openxmlformats.org/officeDocument/2006/relationships/slideLayout" Target="../slideLayouts/slideLayout282.xml"/><Relationship Id="rId54" Type="http://schemas.openxmlformats.org/officeDocument/2006/relationships/slideLayout" Target="../slideLayouts/slideLayout295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5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64.xml"/><Relationship Id="rId28" Type="http://schemas.openxmlformats.org/officeDocument/2006/relationships/slideLayout" Target="../slideLayouts/slideLayout269.xml"/><Relationship Id="rId36" Type="http://schemas.openxmlformats.org/officeDocument/2006/relationships/slideLayout" Target="../slideLayouts/slideLayout277.xml"/><Relationship Id="rId49" Type="http://schemas.openxmlformats.org/officeDocument/2006/relationships/slideLayout" Target="../slideLayouts/slideLayout290.xml"/><Relationship Id="rId57" Type="http://schemas.openxmlformats.org/officeDocument/2006/relationships/slideLayout" Target="../slideLayouts/slideLayout298.xml"/><Relationship Id="rId10" Type="http://schemas.openxmlformats.org/officeDocument/2006/relationships/slideLayout" Target="../slideLayouts/slideLayout251.xml"/><Relationship Id="rId31" Type="http://schemas.openxmlformats.org/officeDocument/2006/relationships/slideLayout" Target="../slideLayouts/slideLayout272.xml"/><Relationship Id="rId44" Type="http://schemas.openxmlformats.org/officeDocument/2006/relationships/slideLayout" Target="../slideLayouts/slideLayout285.xml"/><Relationship Id="rId52" Type="http://schemas.openxmlformats.org/officeDocument/2006/relationships/slideLayout" Target="../slideLayouts/slideLayout293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24.xml"/><Relationship Id="rId21" Type="http://schemas.openxmlformats.org/officeDocument/2006/relationships/slideLayout" Target="../slideLayouts/slideLayout319.xml"/><Relationship Id="rId34" Type="http://schemas.openxmlformats.org/officeDocument/2006/relationships/slideLayout" Target="../slideLayouts/slideLayout332.xml"/><Relationship Id="rId42" Type="http://schemas.openxmlformats.org/officeDocument/2006/relationships/slideLayout" Target="../slideLayouts/slideLayout340.xml"/><Relationship Id="rId47" Type="http://schemas.openxmlformats.org/officeDocument/2006/relationships/slideLayout" Target="../slideLayouts/slideLayout345.xml"/><Relationship Id="rId50" Type="http://schemas.openxmlformats.org/officeDocument/2006/relationships/slideLayout" Target="../slideLayouts/slideLayout348.xml"/><Relationship Id="rId55" Type="http://schemas.openxmlformats.org/officeDocument/2006/relationships/slideLayout" Target="../slideLayouts/slideLayout353.xml"/><Relationship Id="rId63" Type="http://schemas.openxmlformats.org/officeDocument/2006/relationships/slideLayout" Target="../slideLayouts/slideLayout361.xml"/><Relationship Id="rId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300.xml"/><Relationship Id="rId16" Type="http://schemas.openxmlformats.org/officeDocument/2006/relationships/slideLayout" Target="../slideLayouts/slideLayout314.xml"/><Relationship Id="rId29" Type="http://schemas.openxmlformats.org/officeDocument/2006/relationships/slideLayout" Target="../slideLayouts/slideLayout327.xml"/><Relationship Id="rId11" Type="http://schemas.openxmlformats.org/officeDocument/2006/relationships/slideLayout" Target="../slideLayouts/slideLayout309.xml"/><Relationship Id="rId24" Type="http://schemas.openxmlformats.org/officeDocument/2006/relationships/slideLayout" Target="../slideLayouts/slideLayout322.xml"/><Relationship Id="rId32" Type="http://schemas.openxmlformats.org/officeDocument/2006/relationships/slideLayout" Target="../slideLayouts/slideLayout330.xml"/><Relationship Id="rId37" Type="http://schemas.openxmlformats.org/officeDocument/2006/relationships/slideLayout" Target="../slideLayouts/slideLayout335.xml"/><Relationship Id="rId40" Type="http://schemas.openxmlformats.org/officeDocument/2006/relationships/slideLayout" Target="../slideLayouts/slideLayout338.xml"/><Relationship Id="rId45" Type="http://schemas.openxmlformats.org/officeDocument/2006/relationships/slideLayout" Target="../slideLayouts/slideLayout343.xml"/><Relationship Id="rId53" Type="http://schemas.openxmlformats.org/officeDocument/2006/relationships/slideLayout" Target="../slideLayouts/slideLayout351.xml"/><Relationship Id="rId58" Type="http://schemas.openxmlformats.org/officeDocument/2006/relationships/slideLayout" Target="../slideLayouts/slideLayout356.xml"/><Relationship Id="rId66" Type="http://schemas.openxmlformats.org/officeDocument/2006/relationships/image" Target="../media/image1.gif"/><Relationship Id="rId5" Type="http://schemas.openxmlformats.org/officeDocument/2006/relationships/slideLayout" Target="../slideLayouts/slideLayout303.xml"/><Relationship Id="rId61" Type="http://schemas.openxmlformats.org/officeDocument/2006/relationships/slideLayout" Target="../slideLayouts/slideLayout359.xml"/><Relationship Id="rId19" Type="http://schemas.openxmlformats.org/officeDocument/2006/relationships/slideLayout" Target="../slideLayouts/slideLayout317.xml"/><Relationship Id="rId14" Type="http://schemas.openxmlformats.org/officeDocument/2006/relationships/slideLayout" Target="../slideLayouts/slideLayout312.xml"/><Relationship Id="rId22" Type="http://schemas.openxmlformats.org/officeDocument/2006/relationships/slideLayout" Target="../slideLayouts/slideLayout320.xml"/><Relationship Id="rId27" Type="http://schemas.openxmlformats.org/officeDocument/2006/relationships/slideLayout" Target="../slideLayouts/slideLayout325.xml"/><Relationship Id="rId30" Type="http://schemas.openxmlformats.org/officeDocument/2006/relationships/slideLayout" Target="../slideLayouts/slideLayout328.xml"/><Relationship Id="rId35" Type="http://schemas.openxmlformats.org/officeDocument/2006/relationships/slideLayout" Target="../slideLayouts/slideLayout333.xml"/><Relationship Id="rId43" Type="http://schemas.openxmlformats.org/officeDocument/2006/relationships/slideLayout" Target="../slideLayouts/slideLayout341.xml"/><Relationship Id="rId48" Type="http://schemas.openxmlformats.org/officeDocument/2006/relationships/slideLayout" Target="../slideLayouts/slideLayout346.xml"/><Relationship Id="rId56" Type="http://schemas.openxmlformats.org/officeDocument/2006/relationships/slideLayout" Target="../slideLayouts/slideLayout354.xml"/><Relationship Id="rId64" Type="http://schemas.openxmlformats.org/officeDocument/2006/relationships/slideLayout" Target="../slideLayouts/slideLayout362.xml"/><Relationship Id="rId8" Type="http://schemas.openxmlformats.org/officeDocument/2006/relationships/slideLayout" Target="../slideLayouts/slideLayout306.xml"/><Relationship Id="rId51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01.xml"/><Relationship Id="rId12" Type="http://schemas.openxmlformats.org/officeDocument/2006/relationships/slideLayout" Target="../slideLayouts/slideLayout310.xml"/><Relationship Id="rId17" Type="http://schemas.openxmlformats.org/officeDocument/2006/relationships/slideLayout" Target="../slideLayouts/slideLayout315.xml"/><Relationship Id="rId25" Type="http://schemas.openxmlformats.org/officeDocument/2006/relationships/slideLayout" Target="../slideLayouts/slideLayout323.xml"/><Relationship Id="rId33" Type="http://schemas.openxmlformats.org/officeDocument/2006/relationships/slideLayout" Target="../slideLayouts/slideLayout331.xml"/><Relationship Id="rId38" Type="http://schemas.openxmlformats.org/officeDocument/2006/relationships/slideLayout" Target="../slideLayouts/slideLayout336.xml"/><Relationship Id="rId46" Type="http://schemas.openxmlformats.org/officeDocument/2006/relationships/slideLayout" Target="../slideLayouts/slideLayout344.xml"/><Relationship Id="rId59" Type="http://schemas.openxmlformats.org/officeDocument/2006/relationships/slideLayout" Target="../slideLayouts/slideLayout357.xml"/><Relationship Id="rId20" Type="http://schemas.openxmlformats.org/officeDocument/2006/relationships/slideLayout" Target="../slideLayouts/slideLayout318.xml"/><Relationship Id="rId41" Type="http://schemas.openxmlformats.org/officeDocument/2006/relationships/slideLayout" Target="../slideLayouts/slideLayout339.xml"/><Relationship Id="rId54" Type="http://schemas.openxmlformats.org/officeDocument/2006/relationships/slideLayout" Target="../slideLayouts/slideLayout352.xml"/><Relationship Id="rId62" Type="http://schemas.openxmlformats.org/officeDocument/2006/relationships/slideLayout" Target="../slideLayouts/slideLayout36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5" Type="http://schemas.openxmlformats.org/officeDocument/2006/relationships/slideLayout" Target="../slideLayouts/slideLayout313.xml"/><Relationship Id="rId23" Type="http://schemas.openxmlformats.org/officeDocument/2006/relationships/slideLayout" Target="../slideLayouts/slideLayout321.xml"/><Relationship Id="rId28" Type="http://schemas.openxmlformats.org/officeDocument/2006/relationships/slideLayout" Target="../slideLayouts/slideLayout326.xml"/><Relationship Id="rId36" Type="http://schemas.openxmlformats.org/officeDocument/2006/relationships/slideLayout" Target="../slideLayouts/slideLayout334.xml"/><Relationship Id="rId49" Type="http://schemas.openxmlformats.org/officeDocument/2006/relationships/slideLayout" Target="../slideLayouts/slideLayout347.xml"/><Relationship Id="rId57" Type="http://schemas.openxmlformats.org/officeDocument/2006/relationships/slideLayout" Target="../slideLayouts/slideLayout355.xml"/><Relationship Id="rId10" Type="http://schemas.openxmlformats.org/officeDocument/2006/relationships/slideLayout" Target="../slideLayouts/slideLayout308.xml"/><Relationship Id="rId31" Type="http://schemas.openxmlformats.org/officeDocument/2006/relationships/slideLayout" Target="../slideLayouts/slideLayout329.xml"/><Relationship Id="rId44" Type="http://schemas.openxmlformats.org/officeDocument/2006/relationships/slideLayout" Target="../slideLayouts/slideLayout342.xml"/><Relationship Id="rId52" Type="http://schemas.openxmlformats.org/officeDocument/2006/relationships/slideLayout" Target="../slideLayouts/slideLayout350.xml"/><Relationship Id="rId60" Type="http://schemas.openxmlformats.org/officeDocument/2006/relationships/slideLayout" Target="../slideLayouts/slideLayout358.xml"/><Relationship Id="rId65" Type="http://schemas.openxmlformats.org/officeDocument/2006/relationships/theme" Target="../theme/theme9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Relationship Id="rId13" Type="http://schemas.openxmlformats.org/officeDocument/2006/relationships/slideLayout" Target="../slideLayouts/slideLayout311.xml"/><Relationship Id="rId18" Type="http://schemas.openxmlformats.org/officeDocument/2006/relationships/slideLayout" Target="../slideLayouts/slideLayout316.xml"/><Relationship Id="rId39" Type="http://schemas.openxmlformats.org/officeDocument/2006/relationships/slideLayout" Target="../slideLayouts/slideLayout3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4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7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296425"/>
            <a:ext cx="5382691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1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8F0974E-49C5-B960-B4F8-5964DD923856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1A196204-FC1A-5216-AF83-73D0AFFCAFA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1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  <p:sldLayoutId id="2147484064" r:id="rId17"/>
    <p:sldLayoutId id="2147484065" r:id="rId18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i="0" kern="1200" cap="none" baseline="0">
          <a:solidFill>
            <a:schemeClr val="tx1"/>
          </a:solidFill>
          <a:latin typeface="+mj-lt"/>
          <a:ea typeface="Poppins Medium" pitchFamily="2" charset="77"/>
          <a:cs typeface="Poppins Medium" pitchFamily="2" charset="77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i="0" kern="1200">
          <a:gradFill>
            <a:gsLst>
              <a:gs pos="0">
                <a:schemeClr val="accent2"/>
              </a:gs>
              <a:gs pos="100000">
                <a:schemeClr val="tx2"/>
              </a:gs>
            </a:gsLst>
            <a:lin ang="0" scaled="1"/>
          </a:gradFill>
          <a:latin typeface="+mj-lt"/>
          <a:ea typeface="+mn-ea"/>
          <a:cs typeface="Poppins Medium" pitchFamily="2" charset="77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j-lt"/>
          <a:ea typeface="+mn-ea"/>
          <a:cs typeface="Poppins" pitchFamily="2" charset="77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2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32">
          <p15:clr>
            <a:srgbClr val="FDE53C"/>
          </p15:clr>
        </p15:guide>
        <p15:guide id="67" orient="horz" pos="1160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922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509">
          <p15:clr>
            <a:srgbClr val="A4A3A4"/>
          </p15:clr>
        </p15:guide>
        <p15:guide id="77" orient="horz" pos="391">
          <p15:clr>
            <a:srgbClr val="FDE53C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6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8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5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1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2" r:id="rId42"/>
    <p:sldLayoutId id="2147483753" r:id="rId43"/>
    <p:sldLayoutId id="2147483754" r:id="rId44"/>
    <p:sldLayoutId id="2147483755" r:id="rId45"/>
    <p:sldLayoutId id="2147483756" r:id="rId46"/>
    <p:sldLayoutId id="2147483757" r:id="rId47"/>
    <p:sldLayoutId id="2147483758" r:id="rId48"/>
    <p:sldLayoutId id="2147483759" r:id="rId49"/>
    <p:sldLayoutId id="2147483760" r:id="rId50"/>
    <p:sldLayoutId id="2147483761" r:id="rId51"/>
    <p:sldLayoutId id="2147483762" r:id="rId52"/>
    <p:sldLayoutId id="2147483763" r:id="rId53"/>
    <p:sldLayoutId id="2147483764" r:id="rId54"/>
    <p:sldLayoutId id="2147483765" r:id="rId55"/>
    <p:sldLayoutId id="2147483766" r:id="rId56"/>
    <p:sldLayoutId id="2147483768" r:id="rId57"/>
    <p:sldLayoutId id="2147483770" r:id="rId58"/>
    <p:sldLayoutId id="2147483771" r:id="rId59"/>
    <p:sldLayoutId id="2147483775" r:id="rId60"/>
    <p:sldLayoutId id="2147483776" r:id="rId61"/>
    <p:sldLayoutId id="2147484035" r:id="rId62"/>
    <p:sldLayoutId id="2147484066" r:id="rId63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9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1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1"/>
            <a:ext cx="10965600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7" y="1802341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5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BD2AA0BE-0C0E-F642-AB39-96F9643DA11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36697" y="6327669"/>
            <a:ext cx="318609" cy="31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tabLst>
          <a:tab pos="1777956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1" indent="-285744" algn="l" defTabSz="914377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8B8E3A7-8156-2674-4383-E2F8B5FFEE01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8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06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  <p:sldLayoutId id="2147483939" r:id="rId28"/>
    <p:sldLayoutId id="2147483940" r:id="rId29"/>
    <p:sldLayoutId id="2147483941" r:id="rId30"/>
    <p:sldLayoutId id="2147483942" r:id="rId31"/>
    <p:sldLayoutId id="2147483943" r:id="rId32"/>
    <p:sldLayoutId id="2147483944" r:id="rId33"/>
    <p:sldLayoutId id="2147483945" r:id="rId34"/>
    <p:sldLayoutId id="2147483946" r:id="rId35"/>
    <p:sldLayoutId id="2147483947" r:id="rId36"/>
    <p:sldLayoutId id="2147483948" r:id="rId37"/>
    <p:sldLayoutId id="2147483949" r:id="rId38"/>
    <p:sldLayoutId id="2147483950" r:id="rId39"/>
    <p:sldLayoutId id="2147483951" r:id="rId40"/>
    <p:sldLayoutId id="2147483952" r:id="rId41"/>
    <p:sldLayoutId id="2147483953" r:id="rId42"/>
    <p:sldLayoutId id="2147483954" r:id="rId43"/>
    <p:sldLayoutId id="2147483955" r:id="rId44"/>
    <p:sldLayoutId id="2147483956" r:id="rId45"/>
    <p:sldLayoutId id="2147483957" r:id="rId46"/>
    <p:sldLayoutId id="2147483958" r:id="rId47"/>
    <p:sldLayoutId id="2147483959" r:id="rId48"/>
    <p:sldLayoutId id="2147483960" r:id="rId49"/>
    <p:sldLayoutId id="2147483961" r:id="rId50"/>
    <p:sldLayoutId id="2147483962" r:id="rId51"/>
    <p:sldLayoutId id="2147483963" r:id="rId52"/>
    <p:sldLayoutId id="2147483964" r:id="rId53"/>
    <p:sldLayoutId id="2147483965" r:id="rId54"/>
    <p:sldLayoutId id="2147483966" r:id="rId55"/>
    <p:sldLayoutId id="2147483967" r:id="rId56"/>
    <p:sldLayoutId id="2147483968" r:id="rId5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AAEED16-C424-F848-A022-D919E32FEDB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7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11" r:id="rId42"/>
    <p:sldLayoutId id="2147484012" r:id="rId43"/>
    <p:sldLayoutId id="2147484013" r:id="rId44"/>
    <p:sldLayoutId id="2147484014" r:id="rId45"/>
    <p:sldLayoutId id="2147484015" r:id="rId46"/>
    <p:sldLayoutId id="2147484016" r:id="rId47"/>
    <p:sldLayoutId id="2147484017" r:id="rId48"/>
    <p:sldLayoutId id="2147484018" r:id="rId49"/>
    <p:sldLayoutId id="2147484019" r:id="rId50"/>
    <p:sldLayoutId id="2147484020" r:id="rId51"/>
    <p:sldLayoutId id="2147484021" r:id="rId52"/>
    <p:sldLayoutId id="2147484022" r:id="rId53"/>
    <p:sldLayoutId id="2147484023" r:id="rId54"/>
    <p:sldLayoutId id="2147484024" r:id="rId55"/>
    <p:sldLayoutId id="2147484025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  <p:sldLayoutId id="2147484033" r:id="rId6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77.xml"/><Relationship Id="rId5" Type="http://schemas.openxmlformats.org/officeDocument/2006/relationships/image" Target="../media/image33.png"/><Relationship Id="rId4" Type="http://schemas.openxmlformats.org/officeDocument/2006/relationships/chart" Target="../charts/char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37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77.xml"/><Relationship Id="rId5" Type="http://schemas.openxmlformats.org/officeDocument/2006/relationships/image" Target="../media/image37.jpeg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3.png"/><Relationship Id="rId4" Type="http://schemas.openxmlformats.org/officeDocument/2006/relationships/image" Target="../media/image3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7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7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4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A5E533-73B0-01FB-5329-10954E700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285679"/>
            <a:ext cx="10765383" cy="449810"/>
          </a:xfrm>
        </p:spPr>
        <p:txBody>
          <a:bodyPr/>
          <a:lstStyle/>
          <a:p>
            <a:r>
              <a:rPr lang="es-MX" sz="2400" b="1" dirty="0"/>
              <a:t>MEDIA MIX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1</a:t>
            </a:fld>
            <a:endParaRPr lang="es-MX"/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graphicFrame>
        <p:nvGraphicFramePr>
          <p:cNvPr id="36" name="Table 9">
            <a:extLst>
              <a:ext uri="{FF2B5EF4-FFF2-40B4-BE49-F238E27FC236}">
                <a16:creationId xmlns:a16="http://schemas.microsoft.com/office/drawing/2014/main" id="{36B67939-6335-4CB1-8986-2381DBFDF4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508918"/>
              </p:ext>
            </p:extLst>
          </p:nvPr>
        </p:nvGraphicFramePr>
        <p:xfrm>
          <a:off x="3389654" y="995932"/>
          <a:ext cx="4899320" cy="3265550"/>
        </p:xfrm>
        <a:graphic>
          <a:graphicData uri="http://schemas.openxmlformats.org/drawingml/2006/table">
            <a:tbl>
              <a:tblPr firstRow="1" bandRow="1"/>
              <a:tblGrid>
                <a:gridCol w="1490945">
                  <a:extLst>
                    <a:ext uri="{9D8B030D-6E8A-4147-A177-3AD203B41FA5}">
                      <a16:colId xmlns:a16="http://schemas.microsoft.com/office/drawing/2014/main" val="2050887265"/>
                    </a:ext>
                  </a:extLst>
                </a:gridCol>
                <a:gridCol w="1832806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1575569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5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PRESUPUEST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83K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86K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SEMANAS AL AIRE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36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36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TRPS (TV) AÑ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3,051 TRPS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 2,550 TRP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TRPS TV -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381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364 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36195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ALCANCE DIGITAL – MES RRS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027884"/>
                  </a:ext>
                </a:extLst>
              </a:tr>
              <a:tr h="2762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ALCANCE (IVR) PROMEDIO –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671133"/>
                  </a:ext>
                </a:extLst>
              </a:tr>
              <a:tr h="68238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endParaRPr lang="en-US" sz="11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TV y PTV,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edi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rimari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, </a:t>
                      </a:r>
                    </a:p>
                    <a:p>
                      <a:pPr algn="l"/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La inversion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medios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Off  se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incrementa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</a:t>
                      </a:r>
                      <a:r>
                        <a:rPr lang="es-HN" sz="1000" b="0" dirty="0"/>
                        <a:t> 5</a:t>
                      </a:r>
                      <a:r>
                        <a:rPr lang="es-HN" sz="1000" dirty="0"/>
                        <a:t>%  para incorporar exteriores, dado que este segmento es clave dentro del target, especialmente gimnasios</a:t>
                      </a:r>
                      <a:endParaRPr lang="en-US" sz="1000" b="1" i="0" u="none" dirty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DCDB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graphicFrame>
        <p:nvGraphicFramePr>
          <p:cNvPr id="70" name="Gráfico 69">
            <a:extLst>
              <a:ext uri="{FF2B5EF4-FFF2-40B4-BE49-F238E27FC236}">
                <a16:creationId xmlns:a16="http://schemas.microsoft.com/office/drawing/2014/main" id="{93DCE385-0FAC-126D-B32E-A565FA3696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551057"/>
              </p:ext>
            </p:extLst>
          </p:nvPr>
        </p:nvGraphicFramePr>
        <p:xfrm>
          <a:off x="4148385" y="4482779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1" name="Gráfico 70">
            <a:extLst>
              <a:ext uri="{FF2B5EF4-FFF2-40B4-BE49-F238E27FC236}">
                <a16:creationId xmlns:a16="http://schemas.microsoft.com/office/drawing/2014/main" id="{1F67187A-EB97-987B-BC4F-4611229D8B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2979747"/>
              </p:ext>
            </p:extLst>
          </p:nvPr>
        </p:nvGraphicFramePr>
        <p:xfrm>
          <a:off x="4148384" y="4979962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4" name="Gráfico 73">
            <a:extLst>
              <a:ext uri="{FF2B5EF4-FFF2-40B4-BE49-F238E27FC236}">
                <a16:creationId xmlns:a16="http://schemas.microsoft.com/office/drawing/2014/main" id="{47C042F5-8FE6-09BA-95FE-F290A74BCC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5804631"/>
              </p:ext>
            </p:extLst>
          </p:nvPr>
        </p:nvGraphicFramePr>
        <p:xfrm>
          <a:off x="4148383" y="5507316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E0B82BDD-B582-86BD-D977-170B62363357}"/>
              </a:ext>
            </a:extLst>
          </p:cNvPr>
          <p:cNvSpPr txBox="1">
            <a:spLocks/>
          </p:cNvSpPr>
          <p:nvPr/>
        </p:nvSpPr>
        <p:spPr>
          <a:xfrm>
            <a:off x="3334615" y="4745712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7" name="Flecha: a la derecha 48">
            <a:extLst>
              <a:ext uri="{FF2B5EF4-FFF2-40B4-BE49-F238E27FC236}">
                <a16:creationId xmlns:a16="http://schemas.microsoft.com/office/drawing/2014/main" id="{496F1B0C-4DA6-004F-A7C0-D0F9A8775F2C}"/>
              </a:ext>
            </a:extLst>
          </p:cNvPr>
          <p:cNvSpPr/>
          <p:nvPr/>
        </p:nvSpPr>
        <p:spPr>
          <a:xfrm rot="5400000">
            <a:off x="8388817" y="2127115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Flecha: a la derecha 48">
            <a:extLst>
              <a:ext uri="{FF2B5EF4-FFF2-40B4-BE49-F238E27FC236}">
                <a16:creationId xmlns:a16="http://schemas.microsoft.com/office/drawing/2014/main" id="{DEC48103-13AD-614D-89E5-B4EC2DBBE5C0}"/>
              </a:ext>
            </a:extLst>
          </p:cNvPr>
          <p:cNvSpPr/>
          <p:nvPr/>
        </p:nvSpPr>
        <p:spPr>
          <a:xfrm rot="16200000">
            <a:off x="8388817" y="1436096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801EA55-F507-5A4B-8CBF-4B298EC6C9AB}"/>
              </a:ext>
            </a:extLst>
          </p:cNvPr>
          <p:cNvSpPr txBox="1"/>
          <p:nvPr/>
        </p:nvSpPr>
        <p:spPr>
          <a:xfrm>
            <a:off x="8562600" y="1471116"/>
            <a:ext cx="3353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5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352477A3-1336-344D-9534-20EEAF15668F}"/>
              </a:ext>
            </a:extLst>
          </p:cNvPr>
          <p:cNvSpPr txBox="1"/>
          <p:nvPr/>
        </p:nvSpPr>
        <p:spPr>
          <a:xfrm>
            <a:off x="8526218" y="2118732"/>
            <a:ext cx="4475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16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-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Flecha: a la derecha 48">
            <a:extLst>
              <a:ext uri="{FF2B5EF4-FFF2-40B4-BE49-F238E27FC236}">
                <a16:creationId xmlns:a16="http://schemas.microsoft.com/office/drawing/2014/main" id="{DF0B755B-097F-0445-B870-6C1011A449D8}"/>
              </a:ext>
            </a:extLst>
          </p:cNvPr>
          <p:cNvSpPr/>
          <p:nvPr/>
        </p:nvSpPr>
        <p:spPr>
          <a:xfrm rot="5400000">
            <a:off x="8388817" y="2467250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8743B270-A9D4-B94D-BC59-96B601D1B27D}"/>
              </a:ext>
            </a:extLst>
          </p:cNvPr>
          <p:cNvSpPr txBox="1"/>
          <p:nvPr/>
        </p:nvSpPr>
        <p:spPr>
          <a:xfrm>
            <a:off x="8542241" y="2447640"/>
            <a:ext cx="40908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%-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D3236891-F21C-EC47-88AC-D4A698A757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7364" y="915986"/>
            <a:ext cx="1380589" cy="38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2765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2</a:t>
            </a:fld>
            <a:endParaRPr lang="es-MX"/>
          </a:p>
        </p:txBody>
      </p:sp>
      <p:graphicFrame>
        <p:nvGraphicFramePr>
          <p:cNvPr id="6" name="Table 13">
            <a:extLst>
              <a:ext uri="{FF2B5EF4-FFF2-40B4-BE49-F238E27FC236}">
                <a16:creationId xmlns:a16="http://schemas.microsoft.com/office/drawing/2014/main" id="{72ACAE7D-EB5C-3806-0FEB-520B74A092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026363"/>
              </p:ext>
            </p:extLst>
          </p:nvPr>
        </p:nvGraphicFramePr>
        <p:xfrm>
          <a:off x="785261" y="839617"/>
          <a:ext cx="10863132" cy="5231151"/>
        </p:xfrm>
        <a:graphic>
          <a:graphicData uri="http://schemas.openxmlformats.org/drawingml/2006/table">
            <a:tbl>
              <a:tblPr/>
              <a:tblGrid>
                <a:gridCol w="997488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422261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U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E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67622"/>
                  </a:ext>
                </a:extLst>
              </a:tr>
              <a:tr h="41237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biert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28675"/>
                  </a:ext>
                </a:extLst>
              </a:tr>
              <a:tr h="454329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ag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204072"/>
                  </a:ext>
                </a:extLst>
              </a:tr>
              <a:tr h="4386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adio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(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eportes</a:t>
                      </a: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4529460"/>
                  </a:ext>
                </a:extLst>
              </a:tr>
              <a:tr h="37182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xteriore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(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Gimnasios</a:t>
                      </a: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45354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mpreso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4230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ocial Med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8542301"/>
                  </a:ext>
                </a:extLst>
              </a:tr>
              <a:tr h="46999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rogrammati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7830940"/>
                  </a:ext>
                </a:extLst>
              </a:tr>
              <a:tr h="50681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fluenc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184236"/>
                  </a:ext>
                </a:extLst>
              </a:tr>
              <a:tr h="43866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igital Innov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8408837"/>
                  </a:ext>
                </a:extLst>
              </a:tr>
              <a:tr h="419841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2238750"/>
                  </a:ext>
                </a:extLst>
              </a:tr>
              <a:tr h="419841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780309"/>
                  </a:ext>
                </a:extLst>
              </a:tr>
            </a:tbl>
          </a:graphicData>
        </a:graphic>
      </p:graphicFrame>
      <p:sp>
        <p:nvSpPr>
          <p:cNvPr id="32" name="Rounded Rectangle 14">
            <a:extLst>
              <a:ext uri="{FF2B5EF4-FFF2-40B4-BE49-F238E27FC236}">
                <a16:creationId xmlns:a16="http://schemas.microsoft.com/office/drawing/2014/main" id="{73BC2826-AAEF-5F68-9822-ADED30644AE0}"/>
              </a:ext>
            </a:extLst>
          </p:cNvPr>
          <p:cNvSpPr/>
          <p:nvPr/>
        </p:nvSpPr>
        <p:spPr>
          <a:xfrm>
            <a:off x="2610399" y="143245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6" name="Título 1">
            <a:extLst>
              <a:ext uri="{FF2B5EF4-FFF2-40B4-BE49-F238E27FC236}">
                <a16:creationId xmlns:a16="http://schemas.microsoft.com/office/drawing/2014/main" id="{47294257-304D-4435-AF07-AA55E223E265}"/>
              </a:ext>
            </a:extLst>
          </p:cNvPr>
          <p:cNvSpPr txBox="1">
            <a:spLocks/>
          </p:cNvSpPr>
          <p:nvPr/>
        </p:nvSpPr>
        <p:spPr>
          <a:xfrm>
            <a:off x="713310" y="285679"/>
            <a:ext cx="3184134" cy="4498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 dirty="0"/>
              <a:t>2025 ROAD MAP</a:t>
            </a:r>
          </a:p>
        </p:txBody>
      </p:sp>
      <p:sp>
        <p:nvSpPr>
          <p:cNvPr id="45" name="Rounded Rectangle 14">
            <a:extLst>
              <a:ext uri="{FF2B5EF4-FFF2-40B4-BE49-F238E27FC236}">
                <a16:creationId xmlns:a16="http://schemas.microsoft.com/office/drawing/2014/main" id="{18B7B9A8-A138-6542-911B-69283BFDDB2E}"/>
              </a:ext>
            </a:extLst>
          </p:cNvPr>
          <p:cNvSpPr/>
          <p:nvPr/>
        </p:nvSpPr>
        <p:spPr>
          <a:xfrm>
            <a:off x="3487464" y="143245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Rounded Rectangle 14">
            <a:extLst>
              <a:ext uri="{FF2B5EF4-FFF2-40B4-BE49-F238E27FC236}">
                <a16:creationId xmlns:a16="http://schemas.microsoft.com/office/drawing/2014/main" id="{53B36485-7467-E749-8D4A-87E655532B2D}"/>
              </a:ext>
            </a:extLst>
          </p:cNvPr>
          <p:cNvSpPr/>
          <p:nvPr/>
        </p:nvSpPr>
        <p:spPr>
          <a:xfrm>
            <a:off x="5074698" y="143245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Rounded Rectangle 14">
            <a:extLst>
              <a:ext uri="{FF2B5EF4-FFF2-40B4-BE49-F238E27FC236}">
                <a16:creationId xmlns:a16="http://schemas.microsoft.com/office/drawing/2014/main" id="{E6C87E5C-F735-6B44-A747-FBD472B79DC2}"/>
              </a:ext>
            </a:extLst>
          </p:cNvPr>
          <p:cNvSpPr/>
          <p:nvPr/>
        </p:nvSpPr>
        <p:spPr>
          <a:xfrm>
            <a:off x="5901348" y="1435995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Rounded Rectangle 14">
            <a:extLst>
              <a:ext uri="{FF2B5EF4-FFF2-40B4-BE49-F238E27FC236}">
                <a16:creationId xmlns:a16="http://schemas.microsoft.com/office/drawing/2014/main" id="{78F06B48-9001-544C-BF91-6E3A74872B24}"/>
              </a:ext>
            </a:extLst>
          </p:cNvPr>
          <p:cNvSpPr/>
          <p:nvPr/>
        </p:nvSpPr>
        <p:spPr>
          <a:xfrm>
            <a:off x="1790440" y="272488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ounded Rectangle 14">
            <a:extLst>
              <a:ext uri="{FF2B5EF4-FFF2-40B4-BE49-F238E27FC236}">
                <a16:creationId xmlns:a16="http://schemas.microsoft.com/office/drawing/2014/main" id="{CB0B9A5D-116C-284B-9988-7D977047D1E0}"/>
              </a:ext>
            </a:extLst>
          </p:cNvPr>
          <p:cNvSpPr/>
          <p:nvPr/>
        </p:nvSpPr>
        <p:spPr>
          <a:xfrm>
            <a:off x="2667505" y="272488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Rounded Rectangle 14">
            <a:extLst>
              <a:ext uri="{FF2B5EF4-FFF2-40B4-BE49-F238E27FC236}">
                <a16:creationId xmlns:a16="http://schemas.microsoft.com/office/drawing/2014/main" id="{C4305EA3-ABC0-B94F-98C6-FCCBFBE62480}"/>
              </a:ext>
            </a:extLst>
          </p:cNvPr>
          <p:cNvSpPr/>
          <p:nvPr/>
        </p:nvSpPr>
        <p:spPr>
          <a:xfrm>
            <a:off x="5806847" y="272488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4" name="Rounded Rectangle 14">
            <a:extLst>
              <a:ext uri="{FF2B5EF4-FFF2-40B4-BE49-F238E27FC236}">
                <a16:creationId xmlns:a16="http://schemas.microsoft.com/office/drawing/2014/main" id="{5FA7FC1E-27CE-7D4F-A1E5-916A50481D4A}"/>
              </a:ext>
            </a:extLst>
          </p:cNvPr>
          <p:cNvSpPr/>
          <p:nvPr/>
        </p:nvSpPr>
        <p:spPr>
          <a:xfrm>
            <a:off x="6654640" y="272488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Rounded Rectangle 14">
            <a:extLst>
              <a:ext uri="{FF2B5EF4-FFF2-40B4-BE49-F238E27FC236}">
                <a16:creationId xmlns:a16="http://schemas.microsoft.com/office/drawing/2014/main" id="{07ED28C3-4C32-F541-AFB4-7F4CE029D922}"/>
              </a:ext>
            </a:extLst>
          </p:cNvPr>
          <p:cNvSpPr/>
          <p:nvPr/>
        </p:nvSpPr>
        <p:spPr>
          <a:xfrm>
            <a:off x="9151516" y="272488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Rounded Rectangle 14">
            <a:extLst>
              <a:ext uri="{FF2B5EF4-FFF2-40B4-BE49-F238E27FC236}">
                <a16:creationId xmlns:a16="http://schemas.microsoft.com/office/drawing/2014/main" id="{64B36669-6F08-7D4A-B523-9B557FD01DBA}"/>
              </a:ext>
            </a:extLst>
          </p:cNvPr>
          <p:cNvSpPr/>
          <p:nvPr/>
        </p:nvSpPr>
        <p:spPr>
          <a:xfrm>
            <a:off x="10064930" y="2719933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Rounded Rectangle 14">
            <a:extLst>
              <a:ext uri="{FF2B5EF4-FFF2-40B4-BE49-F238E27FC236}">
                <a16:creationId xmlns:a16="http://schemas.microsoft.com/office/drawing/2014/main" id="{652F20C5-C740-1F46-ACF6-FA55D8D6BAD3}"/>
              </a:ext>
            </a:extLst>
          </p:cNvPr>
          <p:cNvSpPr/>
          <p:nvPr/>
        </p:nvSpPr>
        <p:spPr>
          <a:xfrm>
            <a:off x="6742788" y="143245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ounded Rectangle 14">
            <a:extLst>
              <a:ext uri="{FF2B5EF4-FFF2-40B4-BE49-F238E27FC236}">
                <a16:creationId xmlns:a16="http://schemas.microsoft.com/office/drawing/2014/main" id="{EFA8B8F7-3060-0C4C-AED2-D0B27BEF1C1F}"/>
              </a:ext>
            </a:extLst>
          </p:cNvPr>
          <p:cNvSpPr/>
          <p:nvPr/>
        </p:nvSpPr>
        <p:spPr>
          <a:xfrm>
            <a:off x="9179810" y="1437859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ounded Rectangle 14">
            <a:extLst>
              <a:ext uri="{FF2B5EF4-FFF2-40B4-BE49-F238E27FC236}">
                <a16:creationId xmlns:a16="http://schemas.microsoft.com/office/drawing/2014/main" id="{0CA79ED4-39BE-B14F-92A1-FCBD2BC55B42}"/>
              </a:ext>
            </a:extLst>
          </p:cNvPr>
          <p:cNvSpPr/>
          <p:nvPr/>
        </p:nvSpPr>
        <p:spPr>
          <a:xfrm>
            <a:off x="10021250" y="1440122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Rounded Rectangle 14">
            <a:extLst>
              <a:ext uri="{FF2B5EF4-FFF2-40B4-BE49-F238E27FC236}">
                <a16:creationId xmlns:a16="http://schemas.microsoft.com/office/drawing/2014/main" id="{B802C60E-D4AE-CF4A-84FF-22981A7DF60C}"/>
              </a:ext>
            </a:extLst>
          </p:cNvPr>
          <p:cNvSpPr/>
          <p:nvPr/>
        </p:nvSpPr>
        <p:spPr>
          <a:xfrm>
            <a:off x="1790439" y="2300432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Rounded Rectangle 14">
            <a:extLst>
              <a:ext uri="{FF2B5EF4-FFF2-40B4-BE49-F238E27FC236}">
                <a16:creationId xmlns:a16="http://schemas.microsoft.com/office/drawing/2014/main" id="{5F478BA4-86D5-264B-B1AA-91146EDB5E82}"/>
              </a:ext>
            </a:extLst>
          </p:cNvPr>
          <p:cNvSpPr/>
          <p:nvPr/>
        </p:nvSpPr>
        <p:spPr>
          <a:xfrm>
            <a:off x="2630829" y="2306215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ounded Rectangle 14">
            <a:extLst>
              <a:ext uri="{FF2B5EF4-FFF2-40B4-BE49-F238E27FC236}">
                <a16:creationId xmlns:a16="http://schemas.microsoft.com/office/drawing/2014/main" id="{A98C9D6E-F849-C742-9383-E2D4A34C58CA}"/>
              </a:ext>
            </a:extLst>
          </p:cNvPr>
          <p:cNvSpPr/>
          <p:nvPr/>
        </p:nvSpPr>
        <p:spPr>
          <a:xfrm>
            <a:off x="4254739" y="2301182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Rounded Rectangle 14">
            <a:extLst>
              <a:ext uri="{FF2B5EF4-FFF2-40B4-BE49-F238E27FC236}">
                <a16:creationId xmlns:a16="http://schemas.microsoft.com/office/drawing/2014/main" id="{C9F0D3FC-5884-AD4A-A694-7AD7E291C121}"/>
              </a:ext>
            </a:extLst>
          </p:cNvPr>
          <p:cNvSpPr/>
          <p:nvPr/>
        </p:nvSpPr>
        <p:spPr>
          <a:xfrm>
            <a:off x="5909672" y="2300432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Rounded Rectangle 14">
            <a:extLst>
              <a:ext uri="{FF2B5EF4-FFF2-40B4-BE49-F238E27FC236}">
                <a16:creationId xmlns:a16="http://schemas.microsoft.com/office/drawing/2014/main" id="{6DC29014-A66C-B747-A85B-314E50001006}"/>
              </a:ext>
            </a:extLst>
          </p:cNvPr>
          <p:cNvSpPr/>
          <p:nvPr/>
        </p:nvSpPr>
        <p:spPr>
          <a:xfrm>
            <a:off x="7570021" y="226984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Rounded Rectangle 14">
            <a:extLst>
              <a:ext uri="{FF2B5EF4-FFF2-40B4-BE49-F238E27FC236}">
                <a16:creationId xmlns:a16="http://schemas.microsoft.com/office/drawing/2014/main" id="{F66DE42C-3C9B-2046-9B46-17F1487D5ED0}"/>
              </a:ext>
            </a:extLst>
          </p:cNvPr>
          <p:cNvSpPr/>
          <p:nvPr/>
        </p:nvSpPr>
        <p:spPr>
          <a:xfrm>
            <a:off x="8398535" y="2264432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Rounded Rectangle 14">
            <a:extLst>
              <a:ext uri="{FF2B5EF4-FFF2-40B4-BE49-F238E27FC236}">
                <a16:creationId xmlns:a16="http://schemas.microsoft.com/office/drawing/2014/main" id="{5D6AD9D7-AE8E-AA4B-9430-4CF1EDC094F6}"/>
              </a:ext>
            </a:extLst>
          </p:cNvPr>
          <p:cNvSpPr/>
          <p:nvPr/>
        </p:nvSpPr>
        <p:spPr>
          <a:xfrm>
            <a:off x="9974717" y="2276549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235F36D-6B2C-1A4C-B5F7-EBB7EEBCEB29}"/>
              </a:ext>
            </a:extLst>
          </p:cNvPr>
          <p:cNvSpPr txBox="1"/>
          <p:nvPr/>
        </p:nvSpPr>
        <p:spPr>
          <a:xfrm>
            <a:off x="2604822" y="1461026"/>
            <a:ext cx="7665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Deportes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158F7654-B39F-6643-AF6C-972DEE6F00EA}"/>
              </a:ext>
            </a:extLst>
          </p:cNvPr>
          <p:cNvSpPr txBox="1"/>
          <p:nvPr/>
        </p:nvSpPr>
        <p:spPr>
          <a:xfrm>
            <a:off x="3399593" y="1455950"/>
            <a:ext cx="10038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Prog. regular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6A3E9822-FA5E-7644-8087-E1ED9EC04FE1}"/>
              </a:ext>
            </a:extLst>
          </p:cNvPr>
          <p:cNvSpPr txBox="1"/>
          <p:nvPr/>
        </p:nvSpPr>
        <p:spPr>
          <a:xfrm>
            <a:off x="5000673" y="1461026"/>
            <a:ext cx="7665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Deportes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6CB16DE3-8C0E-2D4F-BDED-E14793D2120A}"/>
              </a:ext>
            </a:extLst>
          </p:cNvPr>
          <p:cNvSpPr txBox="1"/>
          <p:nvPr/>
        </p:nvSpPr>
        <p:spPr>
          <a:xfrm>
            <a:off x="5795444" y="1455950"/>
            <a:ext cx="10038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Prog. regular</a:t>
            </a: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7B593321-125B-D44F-83F8-E9C281564DA0}"/>
              </a:ext>
            </a:extLst>
          </p:cNvPr>
          <p:cNvSpPr txBox="1"/>
          <p:nvPr/>
        </p:nvSpPr>
        <p:spPr>
          <a:xfrm>
            <a:off x="6677130" y="1466074"/>
            <a:ext cx="10038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Prog. regula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411D048-6C44-3046-8207-4FCDF727FD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4066" y="1449484"/>
            <a:ext cx="762000" cy="279400"/>
          </a:xfrm>
          <a:prstGeom prst="rect">
            <a:avLst/>
          </a:prstGeom>
        </p:spPr>
      </p:pic>
      <p:sp>
        <p:nvSpPr>
          <p:cNvPr id="51" name="CuadroTexto 50">
            <a:extLst>
              <a:ext uri="{FF2B5EF4-FFF2-40B4-BE49-F238E27FC236}">
                <a16:creationId xmlns:a16="http://schemas.microsoft.com/office/drawing/2014/main" id="{B6F338E4-B6B7-AA43-9585-A729D81EB07E}"/>
              </a:ext>
            </a:extLst>
          </p:cNvPr>
          <p:cNvSpPr txBox="1"/>
          <p:nvPr/>
        </p:nvSpPr>
        <p:spPr>
          <a:xfrm>
            <a:off x="10010322" y="1455950"/>
            <a:ext cx="7665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Deportes</a:t>
            </a:r>
          </a:p>
        </p:txBody>
      </p:sp>
    </p:spTree>
    <p:extLst>
      <p:ext uri="{BB962C8B-B14F-4D97-AF65-F5344CB8AC3E}">
        <p14:creationId xmlns:p14="http://schemas.microsoft.com/office/powerpoint/2010/main" val="601873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ijdelijke aanduiding voor tekst 3">
            <a:extLst>
              <a:ext uri="{FF2B5EF4-FFF2-40B4-BE49-F238E27FC236}">
                <a16:creationId xmlns:a16="http://schemas.microsoft.com/office/drawing/2014/main" id="{5758959A-D512-9699-EEC4-DBBFEF3333DB}"/>
              </a:ext>
            </a:extLst>
          </p:cNvPr>
          <p:cNvSpPr txBox="1">
            <a:spLocks/>
          </p:cNvSpPr>
          <p:nvPr/>
        </p:nvSpPr>
        <p:spPr>
          <a:xfrm>
            <a:off x="5857544" y="2875294"/>
            <a:ext cx="2298653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2" name="Oval 10">
            <a:extLst>
              <a:ext uri="{FF2B5EF4-FFF2-40B4-BE49-F238E27FC236}">
                <a16:creationId xmlns:a16="http://schemas.microsoft.com/office/drawing/2014/main" id="{2EB324A2-AEE7-A8FB-3BDE-22F597670FE1}"/>
              </a:ext>
            </a:extLst>
          </p:cNvPr>
          <p:cNvSpPr/>
          <p:nvPr/>
        </p:nvSpPr>
        <p:spPr>
          <a:xfrm>
            <a:off x="5842554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39" name="Table 6">
            <a:extLst>
              <a:ext uri="{FF2B5EF4-FFF2-40B4-BE49-F238E27FC236}">
                <a16:creationId xmlns:a16="http://schemas.microsoft.com/office/drawing/2014/main" id="{91EEB369-26A8-62A5-7155-1BFB0AC25B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3998948"/>
              </p:ext>
            </p:extLst>
          </p:nvPr>
        </p:nvGraphicFramePr>
        <p:xfrm>
          <a:off x="8282904" y="2872791"/>
          <a:ext cx="3652078" cy="2501231"/>
        </p:xfrm>
        <a:graphic>
          <a:graphicData uri="http://schemas.openxmlformats.org/drawingml/2006/table">
            <a:tbl>
              <a:tblPr firstRow="1" bandRow="1"/>
              <a:tblGrid>
                <a:gridCol w="1826039">
                  <a:extLst>
                    <a:ext uri="{9D8B030D-6E8A-4147-A177-3AD203B41FA5}">
                      <a16:colId xmlns:a16="http://schemas.microsoft.com/office/drawing/2014/main" val="1211728796"/>
                    </a:ext>
                  </a:extLst>
                </a:gridCol>
                <a:gridCol w="1826039">
                  <a:extLst>
                    <a:ext uri="{9D8B030D-6E8A-4147-A177-3AD203B41FA5}">
                      <a16:colId xmlns:a16="http://schemas.microsoft.com/office/drawing/2014/main" val="2279435026"/>
                    </a:ext>
                  </a:extLst>
                </a:gridCol>
              </a:tblGrid>
              <a:tr h="4866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Estacionalidad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Flithgting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en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oleadas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a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niveles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antenimiento</a:t>
                      </a:r>
                      <a:endParaRPr lang="en-GB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737685"/>
                  </a:ext>
                </a:extLst>
              </a:tr>
              <a:tr h="49871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señal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OTV + PTV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210266"/>
                  </a:ext>
                </a:extLst>
              </a:tr>
              <a:tr h="47646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acción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Deportes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 y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programac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. regular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829059"/>
                  </a:ext>
                </a:extLst>
              </a:tr>
              <a:tr h="4885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Duración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de spot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20ss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6281069"/>
                  </a:ext>
                </a:extLst>
              </a:tr>
              <a:tr h="449124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Trp´s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2,550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968482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BF01DDF-4EC1-41C9-0C71-F64807156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369" y="289685"/>
            <a:ext cx="4838278" cy="1766900"/>
          </a:xfrm>
        </p:spPr>
        <p:txBody>
          <a:bodyPr/>
          <a:lstStyle/>
          <a:p>
            <a:r>
              <a:rPr lang="en-GB" dirty="0" err="1"/>
              <a:t>Alcance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TV, H/M 30-59</a:t>
            </a:r>
            <a:endParaRPr lang="en-GB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17DE41-C9A8-B99F-7EB8-C8B2AA36C418}"/>
              </a:ext>
            </a:extLst>
          </p:cNvPr>
          <p:cNvSpPr/>
          <p:nvPr/>
        </p:nvSpPr>
        <p:spPr>
          <a:xfrm>
            <a:off x="8267923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Freeform 185">
            <a:extLst>
              <a:ext uri="{FF2B5EF4-FFF2-40B4-BE49-F238E27FC236}">
                <a16:creationId xmlns:a16="http://schemas.microsoft.com/office/drawing/2014/main" id="{6F1A9D9F-B643-4EC3-B35E-7BD6985D3F03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8360566" y="2391148"/>
            <a:ext cx="246384" cy="246114"/>
          </a:xfrm>
          <a:custGeom>
            <a:avLst/>
            <a:gdLst>
              <a:gd name="T0" fmla="*/ 497 w 995"/>
              <a:gd name="T1" fmla="*/ 0 h 994"/>
              <a:gd name="T2" fmla="*/ 0 w 995"/>
              <a:gd name="T3" fmla="*/ 497 h 994"/>
              <a:gd name="T4" fmla="*/ 497 w 995"/>
              <a:gd name="T5" fmla="*/ 994 h 994"/>
              <a:gd name="T6" fmla="*/ 995 w 995"/>
              <a:gd name="T7" fmla="*/ 497 h 994"/>
              <a:gd name="T8" fmla="*/ 497 w 995"/>
              <a:gd name="T9" fmla="*/ 0 h 994"/>
              <a:gd name="T10" fmla="*/ 497 w 995"/>
              <a:gd name="T11" fmla="*/ 944 h 994"/>
              <a:gd name="T12" fmla="*/ 50 w 995"/>
              <a:gd name="T13" fmla="*/ 497 h 994"/>
              <a:gd name="T14" fmla="*/ 497 w 995"/>
              <a:gd name="T15" fmla="*/ 49 h 994"/>
              <a:gd name="T16" fmla="*/ 945 w 995"/>
              <a:gd name="T17" fmla="*/ 497 h 994"/>
              <a:gd name="T18" fmla="*/ 497 w 995"/>
              <a:gd name="T19" fmla="*/ 944 h 994"/>
              <a:gd name="T20" fmla="*/ 452 w 995"/>
              <a:gd name="T21" fmla="*/ 271 h 994"/>
              <a:gd name="T22" fmla="*/ 542 w 995"/>
              <a:gd name="T23" fmla="*/ 271 h 994"/>
              <a:gd name="T24" fmla="*/ 542 w 995"/>
              <a:gd name="T25" fmla="*/ 354 h 994"/>
              <a:gd name="T26" fmla="*/ 452 w 995"/>
              <a:gd name="T27" fmla="*/ 354 h 994"/>
              <a:gd name="T28" fmla="*/ 452 w 995"/>
              <a:gd name="T29" fmla="*/ 271 h 994"/>
              <a:gd name="T30" fmla="*/ 452 w 995"/>
              <a:gd name="T31" fmla="*/ 404 h 994"/>
              <a:gd name="T32" fmla="*/ 542 w 995"/>
              <a:gd name="T33" fmla="*/ 404 h 994"/>
              <a:gd name="T34" fmla="*/ 542 w 995"/>
              <a:gd name="T35" fmla="*/ 723 h 994"/>
              <a:gd name="T36" fmla="*/ 452 w 995"/>
              <a:gd name="T37" fmla="*/ 723 h 994"/>
              <a:gd name="T38" fmla="*/ 452 w 995"/>
              <a:gd name="T39" fmla="*/ 404 h 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95" h="994">
                <a:moveTo>
                  <a:pt x="497" y="0"/>
                </a:moveTo>
                <a:cubicBezTo>
                  <a:pt x="223" y="0"/>
                  <a:pt x="0" y="222"/>
                  <a:pt x="0" y="497"/>
                </a:cubicBezTo>
                <a:cubicBezTo>
                  <a:pt x="0" y="771"/>
                  <a:pt x="223" y="994"/>
                  <a:pt x="497" y="994"/>
                </a:cubicBezTo>
                <a:cubicBezTo>
                  <a:pt x="772" y="994"/>
                  <a:pt x="995" y="771"/>
                  <a:pt x="995" y="497"/>
                </a:cubicBezTo>
                <a:cubicBezTo>
                  <a:pt x="995" y="222"/>
                  <a:pt x="772" y="0"/>
                  <a:pt x="497" y="0"/>
                </a:cubicBezTo>
                <a:moveTo>
                  <a:pt x="497" y="944"/>
                </a:moveTo>
                <a:cubicBezTo>
                  <a:pt x="251" y="944"/>
                  <a:pt x="50" y="744"/>
                  <a:pt x="50" y="497"/>
                </a:cubicBezTo>
                <a:cubicBezTo>
                  <a:pt x="50" y="250"/>
                  <a:pt x="251" y="49"/>
                  <a:pt x="497" y="49"/>
                </a:cubicBezTo>
                <a:cubicBezTo>
                  <a:pt x="744" y="49"/>
                  <a:pt x="945" y="250"/>
                  <a:pt x="945" y="497"/>
                </a:cubicBezTo>
                <a:cubicBezTo>
                  <a:pt x="945" y="744"/>
                  <a:pt x="744" y="944"/>
                  <a:pt x="497" y="944"/>
                </a:cubicBezTo>
                <a:moveTo>
                  <a:pt x="452" y="271"/>
                </a:moveTo>
                <a:cubicBezTo>
                  <a:pt x="542" y="271"/>
                  <a:pt x="542" y="271"/>
                  <a:pt x="542" y="271"/>
                </a:cubicBezTo>
                <a:cubicBezTo>
                  <a:pt x="542" y="354"/>
                  <a:pt x="542" y="354"/>
                  <a:pt x="542" y="354"/>
                </a:cubicBezTo>
                <a:cubicBezTo>
                  <a:pt x="452" y="354"/>
                  <a:pt x="452" y="354"/>
                  <a:pt x="452" y="354"/>
                </a:cubicBezTo>
                <a:lnTo>
                  <a:pt x="452" y="271"/>
                </a:lnTo>
                <a:close/>
                <a:moveTo>
                  <a:pt x="452" y="404"/>
                </a:moveTo>
                <a:cubicBezTo>
                  <a:pt x="542" y="404"/>
                  <a:pt x="542" y="404"/>
                  <a:pt x="542" y="404"/>
                </a:cubicBezTo>
                <a:cubicBezTo>
                  <a:pt x="542" y="723"/>
                  <a:pt x="542" y="723"/>
                  <a:pt x="542" y="723"/>
                </a:cubicBezTo>
                <a:cubicBezTo>
                  <a:pt x="452" y="723"/>
                  <a:pt x="452" y="723"/>
                  <a:pt x="452" y="723"/>
                </a:cubicBezTo>
                <a:lnTo>
                  <a:pt x="452" y="40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120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D4E947-25A2-603B-143B-3A7A6F1DCD89}"/>
              </a:ext>
            </a:extLst>
          </p:cNvPr>
          <p:cNvSpPr txBox="1"/>
          <p:nvPr/>
        </p:nvSpPr>
        <p:spPr bwMode="gray">
          <a:xfrm>
            <a:off x="806550" y="2405150"/>
            <a:ext cx="1606867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err="1">
                <a:solidFill>
                  <a:srgbClr val="011627"/>
                </a:solidFill>
                <a:latin typeface="Century Gothic"/>
                <a:cs typeface="AdihausDIN" panose="020B0504020101020102" pitchFamily="34" charset="0"/>
              </a:rPr>
              <a:t>Trp’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dihausDIN" panose="020B0504020101020102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AC81DC2-35CE-4E49-6C80-517E313DB787}"/>
              </a:ext>
            </a:extLst>
          </p:cNvPr>
          <p:cNvSpPr txBox="1"/>
          <p:nvPr/>
        </p:nvSpPr>
        <p:spPr bwMode="gray">
          <a:xfrm>
            <a:off x="8777532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Resultado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943CDF5-2DC8-A0BF-458B-AF59D04E6C1E}"/>
              </a:ext>
            </a:extLst>
          </p:cNvPr>
          <p:cNvCxnSpPr/>
          <p:nvPr/>
        </p:nvCxnSpPr>
        <p:spPr>
          <a:xfrm>
            <a:off x="4114982" y="2109833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161FABC-A580-F1FB-107A-83ADCBAE6A53}"/>
              </a:ext>
            </a:extLst>
          </p:cNvPr>
          <p:cNvCxnSpPr/>
          <p:nvPr/>
        </p:nvCxnSpPr>
        <p:spPr>
          <a:xfrm>
            <a:off x="4114982" y="1089811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0628E9C6-36B7-2E3F-6B70-CE5AC8F317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sp>
        <p:nvSpPr>
          <p:cNvPr id="38" name="Tijdelijke aanduiding voor tekst 3">
            <a:extLst>
              <a:ext uri="{FF2B5EF4-FFF2-40B4-BE49-F238E27FC236}">
                <a16:creationId xmlns:a16="http://schemas.microsoft.com/office/drawing/2014/main" id="{6F8452F6-7DE5-FC3A-E2D5-42A27D64F80D}"/>
              </a:ext>
            </a:extLst>
          </p:cNvPr>
          <p:cNvSpPr txBox="1">
            <a:spLocks/>
          </p:cNvSpPr>
          <p:nvPr/>
        </p:nvSpPr>
        <p:spPr>
          <a:xfrm>
            <a:off x="257019" y="2872794"/>
            <a:ext cx="5453291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9262D76-9A16-683A-1C06-91084C0C5A34}"/>
              </a:ext>
            </a:extLst>
          </p:cNvPr>
          <p:cNvCxnSpPr/>
          <p:nvPr/>
        </p:nvCxnSpPr>
        <p:spPr>
          <a:xfrm>
            <a:off x="247518" y="2869619"/>
            <a:ext cx="5472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13">
            <a:extLst>
              <a:ext uri="{FF2B5EF4-FFF2-40B4-BE49-F238E27FC236}">
                <a16:creationId xmlns:a16="http://schemas.microsoft.com/office/drawing/2014/main" id="{6BE546B9-4FE3-5E3F-7EDA-82F26FC062A1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2" name="Round Same-side Corner of Rectangle 28">
              <a:extLst>
                <a:ext uri="{FF2B5EF4-FFF2-40B4-BE49-F238E27FC236}">
                  <a16:creationId xmlns:a16="http://schemas.microsoft.com/office/drawing/2014/main" id="{A19B98B2-C6B4-7F47-E38E-ECE7CD422F57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22" name="Group 33">
              <a:extLst>
                <a:ext uri="{FF2B5EF4-FFF2-40B4-BE49-F238E27FC236}">
                  <a16:creationId xmlns:a16="http://schemas.microsoft.com/office/drawing/2014/main" id="{B06F0F45-BCA4-6721-9483-7968675F81AA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0" name="Oval 44">
                <a:extLst>
                  <a:ext uri="{FF2B5EF4-FFF2-40B4-BE49-F238E27FC236}">
                    <a16:creationId xmlns:a16="http://schemas.microsoft.com/office/drawing/2014/main" id="{110A085F-A824-0FBB-3426-B83C71C2CA50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3" name="TextBox 45">
                <a:extLst>
                  <a:ext uri="{FF2B5EF4-FFF2-40B4-BE49-F238E27FC236}">
                    <a16:creationId xmlns:a16="http://schemas.microsoft.com/office/drawing/2014/main" id="{330EE13E-FA8C-A7B8-3A95-50714C9544DE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4" name="Google Shape;1194;p40">
              <a:extLst>
                <a:ext uri="{FF2B5EF4-FFF2-40B4-BE49-F238E27FC236}">
                  <a16:creationId xmlns:a16="http://schemas.microsoft.com/office/drawing/2014/main" id="{E1F879EC-0902-AB19-CDA3-CE22BD08CA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8" name="Oval 31">
            <a:extLst>
              <a:ext uri="{FF2B5EF4-FFF2-40B4-BE49-F238E27FC236}">
                <a16:creationId xmlns:a16="http://schemas.microsoft.com/office/drawing/2014/main" id="{DF920E4F-E050-C785-B38B-439D254E1831}"/>
              </a:ext>
            </a:extLst>
          </p:cNvPr>
          <p:cNvSpPr/>
          <p:nvPr/>
        </p:nvSpPr>
        <p:spPr>
          <a:xfrm>
            <a:off x="251311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Freeform 131">
            <a:extLst>
              <a:ext uri="{FF2B5EF4-FFF2-40B4-BE49-F238E27FC236}">
                <a16:creationId xmlns:a16="http://schemas.microsoft.com/office/drawing/2014/main" id="{74C148ED-22C7-1849-449F-41676633946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330512" y="2391149"/>
            <a:ext cx="273268" cy="274920"/>
          </a:xfrm>
          <a:custGeom>
            <a:avLst/>
            <a:gdLst>
              <a:gd name="T0" fmla="*/ 1207 w 1207"/>
              <a:gd name="T1" fmla="*/ 1047 h 1207"/>
              <a:gd name="T2" fmla="*/ 1167 w 1207"/>
              <a:gd name="T3" fmla="*/ 1087 h 1207"/>
              <a:gd name="T4" fmla="*/ 1047 w 1207"/>
              <a:gd name="T5" fmla="*/ 1207 h 1207"/>
              <a:gd name="T6" fmla="*/ 1007 w 1207"/>
              <a:gd name="T7" fmla="*/ 1167 h 1207"/>
              <a:gd name="T8" fmla="*/ 1099 w 1207"/>
              <a:gd name="T9" fmla="*/ 1076 h 1207"/>
              <a:gd name="T10" fmla="*/ 188 w 1207"/>
              <a:gd name="T11" fmla="*/ 1076 h 1207"/>
              <a:gd name="T12" fmla="*/ 132 w 1207"/>
              <a:gd name="T13" fmla="*/ 1076 h 1207"/>
              <a:gd name="T14" fmla="*/ 132 w 1207"/>
              <a:gd name="T15" fmla="*/ 1019 h 1207"/>
              <a:gd name="T16" fmla="*/ 132 w 1207"/>
              <a:gd name="T17" fmla="*/ 109 h 1207"/>
              <a:gd name="T18" fmla="*/ 40 w 1207"/>
              <a:gd name="T19" fmla="*/ 200 h 1207"/>
              <a:gd name="T20" fmla="*/ 0 w 1207"/>
              <a:gd name="T21" fmla="*/ 160 h 1207"/>
              <a:gd name="T22" fmla="*/ 120 w 1207"/>
              <a:gd name="T23" fmla="*/ 40 h 1207"/>
              <a:gd name="T24" fmla="*/ 160 w 1207"/>
              <a:gd name="T25" fmla="*/ 0 h 1207"/>
              <a:gd name="T26" fmla="*/ 200 w 1207"/>
              <a:gd name="T27" fmla="*/ 40 h 1207"/>
              <a:gd name="T28" fmla="*/ 320 w 1207"/>
              <a:gd name="T29" fmla="*/ 160 h 1207"/>
              <a:gd name="T30" fmla="*/ 280 w 1207"/>
              <a:gd name="T31" fmla="*/ 200 h 1207"/>
              <a:gd name="T32" fmla="*/ 188 w 1207"/>
              <a:gd name="T33" fmla="*/ 109 h 1207"/>
              <a:gd name="T34" fmla="*/ 188 w 1207"/>
              <a:gd name="T35" fmla="*/ 1019 h 1207"/>
              <a:gd name="T36" fmla="*/ 1099 w 1207"/>
              <a:gd name="T37" fmla="*/ 1019 h 1207"/>
              <a:gd name="T38" fmla="*/ 1007 w 1207"/>
              <a:gd name="T39" fmla="*/ 927 h 1207"/>
              <a:gd name="T40" fmla="*/ 1047 w 1207"/>
              <a:gd name="T41" fmla="*/ 887 h 1207"/>
              <a:gd name="T42" fmla="*/ 1167 w 1207"/>
              <a:gd name="T43" fmla="*/ 1007 h 1207"/>
              <a:gd name="T44" fmla="*/ 1207 w 1207"/>
              <a:gd name="T45" fmla="*/ 1047 h 1207"/>
              <a:gd name="T46" fmla="*/ 300 w 1207"/>
              <a:gd name="T47" fmla="*/ 799 h 1207"/>
              <a:gd name="T48" fmla="*/ 469 w 1207"/>
              <a:gd name="T49" fmla="*/ 481 h 1207"/>
              <a:gd name="T50" fmla="*/ 614 w 1207"/>
              <a:gd name="T51" fmla="*/ 664 h 1207"/>
              <a:gd name="T52" fmla="*/ 784 w 1207"/>
              <a:gd name="T53" fmla="*/ 878 h 1207"/>
              <a:gd name="T54" fmla="*/ 954 w 1207"/>
              <a:gd name="T55" fmla="*/ 597 h 1207"/>
              <a:gd name="T56" fmla="*/ 1164 w 1207"/>
              <a:gd name="T57" fmla="*/ 195 h 1207"/>
              <a:gd name="T58" fmla="*/ 1137 w 1207"/>
              <a:gd name="T59" fmla="*/ 145 h 1207"/>
              <a:gd name="T60" fmla="*/ 900 w 1207"/>
              <a:gd name="T61" fmla="*/ 582 h 1207"/>
              <a:gd name="T62" fmla="*/ 784 w 1207"/>
              <a:gd name="T63" fmla="*/ 821 h 1207"/>
              <a:gd name="T64" fmla="*/ 667 w 1207"/>
              <a:gd name="T65" fmla="*/ 645 h 1207"/>
              <a:gd name="T66" fmla="*/ 457 w 1207"/>
              <a:gd name="T67" fmla="*/ 425 h 1207"/>
              <a:gd name="T68" fmla="*/ 245 w 1207"/>
              <a:gd name="T69" fmla="*/ 787 h 1207"/>
              <a:gd name="T70" fmla="*/ 300 w 1207"/>
              <a:gd name="T71" fmla="*/ 799 h 1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07" h="1207">
                <a:moveTo>
                  <a:pt x="1207" y="1047"/>
                </a:moveTo>
                <a:cubicBezTo>
                  <a:pt x="1167" y="1087"/>
                  <a:pt x="1167" y="1087"/>
                  <a:pt x="1167" y="1087"/>
                </a:cubicBezTo>
                <a:cubicBezTo>
                  <a:pt x="1047" y="1207"/>
                  <a:pt x="1047" y="1207"/>
                  <a:pt x="1047" y="1207"/>
                </a:cubicBezTo>
                <a:cubicBezTo>
                  <a:pt x="1007" y="1167"/>
                  <a:pt x="1007" y="1167"/>
                  <a:pt x="1007" y="1167"/>
                </a:cubicBezTo>
                <a:cubicBezTo>
                  <a:pt x="1099" y="1076"/>
                  <a:pt x="1099" y="1076"/>
                  <a:pt x="1099" y="1076"/>
                </a:cubicBezTo>
                <a:cubicBezTo>
                  <a:pt x="188" y="1076"/>
                  <a:pt x="188" y="1076"/>
                  <a:pt x="188" y="1076"/>
                </a:cubicBezTo>
                <a:cubicBezTo>
                  <a:pt x="132" y="1076"/>
                  <a:pt x="132" y="1076"/>
                  <a:pt x="132" y="1076"/>
                </a:cubicBezTo>
                <a:cubicBezTo>
                  <a:pt x="132" y="1019"/>
                  <a:pt x="132" y="1019"/>
                  <a:pt x="132" y="1019"/>
                </a:cubicBezTo>
                <a:cubicBezTo>
                  <a:pt x="132" y="109"/>
                  <a:pt x="132" y="109"/>
                  <a:pt x="132" y="109"/>
                </a:cubicBezTo>
                <a:cubicBezTo>
                  <a:pt x="40" y="200"/>
                  <a:pt x="40" y="200"/>
                  <a:pt x="40" y="200"/>
                </a:cubicBezTo>
                <a:cubicBezTo>
                  <a:pt x="0" y="160"/>
                  <a:pt x="0" y="160"/>
                  <a:pt x="0" y="160"/>
                </a:cubicBezTo>
                <a:cubicBezTo>
                  <a:pt x="120" y="40"/>
                  <a:pt x="120" y="40"/>
                  <a:pt x="120" y="40"/>
                </a:cubicBezTo>
                <a:cubicBezTo>
                  <a:pt x="160" y="0"/>
                  <a:pt x="160" y="0"/>
                  <a:pt x="160" y="0"/>
                </a:cubicBezTo>
                <a:cubicBezTo>
                  <a:pt x="200" y="40"/>
                  <a:pt x="200" y="40"/>
                  <a:pt x="200" y="40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280" y="200"/>
                  <a:pt x="280" y="200"/>
                  <a:pt x="280" y="200"/>
                </a:cubicBezTo>
                <a:cubicBezTo>
                  <a:pt x="188" y="109"/>
                  <a:pt x="188" y="109"/>
                  <a:pt x="188" y="109"/>
                </a:cubicBezTo>
                <a:cubicBezTo>
                  <a:pt x="188" y="1019"/>
                  <a:pt x="188" y="1019"/>
                  <a:pt x="188" y="1019"/>
                </a:cubicBezTo>
                <a:cubicBezTo>
                  <a:pt x="1099" y="1019"/>
                  <a:pt x="1099" y="1019"/>
                  <a:pt x="1099" y="1019"/>
                </a:cubicBezTo>
                <a:cubicBezTo>
                  <a:pt x="1007" y="927"/>
                  <a:pt x="1007" y="927"/>
                  <a:pt x="1007" y="927"/>
                </a:cubicBezTo>
                <a:cubicBezTo>
                  <a:pt x="1047" y="887"/>
                  <a:pt x="1047" y="887"/>
                  <a:pt x="1047" y="887"/>
                </a:cubicBezTo>
                <a:cubicBezTo>
                  <a:pt x="1167" y="1007"/>
                  <a:pt x="1167" y="1007"/>
                  <a:pt x="1167" y="1007"/>
                </a:cubicBezTo>
                <a:lnTo>
                  <a:pt x="1207" y="1047"/>
                </a:lnTo>
                <a:close/>
                <a:moveTo>
                  <a:pt x="300" y="799"/>
                </a:moveTo>
                <a:cubicBezTo>
                  <a:pt x="338" y="625"/>
                  <a:pt x="408" y="495"/>
                  <a:pt x="469" y="481"/>
                </a:cubicBezTo>
                <a:cubicBezTo>
                  <a:pt x="537" y="465"/>
                  <a:pt x="570" y="543"/>
                  <a:pt x="614" y="664"/>
                </a:cubicBezTo>
                <a:cubicBezTo>
                  <a:pt x="651" y="769"/>
                  <a:pt x="690" y="878"/>
                  <a:pt x="784" y="878"/>
                </a:cubicBezTo>
                <a:cubicBezTo>
                  <a:pt x="878" y="878"/>
                  <a:pt x="913" y="748"/>
                  <a:pt x="954" y="597"/>
                </a:cubicBezTo>
                <a:cubicBezTo>
                  <a:pt x="997" y="438"/>
                  <a:pt x="1046" y="257"/>
                  <a:pt x="1164" y="195"/>
                </a:cubicBezTo>
                <a:cubicBezTo>
                  <a:pt x="1137" y="145"/>
                  <a:pt x="1137" y="145"/>
                  <a:pt x="1137" y="145"/>
                </a:cubicBezTo>
                <a:cubicBezTo>
                  <a:pt x="998" y="219"/>
                  <a:pt x="946" y="412"/>
                  <a:pt x="900" y="582"/>
                </a:cubicBezTo>
                <a:cubicBezTo>
                  <a:pt x="868" y="700"/>
                  <a:pt x="835" y="821"/>
                  <a:pt x="784" y="821"/>
                </a:cubicBezTo>
                <a:cubicBezTo>
                  <a:pt x="730" y="821"/>
                  <a:pt x="698" y="732"/>
                  <a:pt x="667" y="645"/>
                </a:cubicBezTo>
                <a:cubicBezTo>
                  <a:pt x="625" y="529"/>
                  <a:pt x="579" y="398"/>
                  <a:pt x="457" y="425"/>
                </a:cubicBezTo>
                <a:cubicBezTo>
                  <a:pt x="354" y="449"/>
                  <a:pt x="280" y="627"/>
                  <a:pt x="245" y="787"/>
                </a:cubicBezTo>
                <a:lnTo>
                  <a:pt x="300" y="799"/>
                </a:lnTo>
                <a:close/>
              </a:path>
            </a:pathLst>
          </a:custGeom>
          <a:solidFill>
            <a:srgbClr val="011627"/>
          </a:solidFill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88FCAF3F-AEF1-CB72-9689-31972D2D2792}"/>
              </a:ext>
            </a:extLst>
          </p:cNvPr>
          <p:cNvSpPr txBox="1"/>
          <p:nvPr/>
        </p:nvSpPr>
        <p:spPr>
          <a:xfrm>
            <a:off x="5029554" y="1189680"/>
            <a:ext cx="49534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Uso de TV abierta + TV Pag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Kpi´s en mes bajo:  364 Trps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Duración de spot: 20ss + exposicines animadas en deportes</a:t>
            </a:r>
            <a:endParaRPr lang="es-GT" sz="1200" dirty="0">
              <a:solidFill>
                <a:srgbClr val="0A0F0D"/>
              </a:solidFill>
              <a:latin typeface="Century Gothic"/>
            </a:endParaRPr>
          </a:p>
        </p:txBody>
      </p:sp>
      <p:grpSp>
        <p:nvGrpSpPr>
          <p:cNvPr id="66" name="Group 15">
            <a:extLst>
              <a:ext uri="{FF2B5EF4-FFF2-40B4-BE49-F238E27FC236}">
                <a16:creationId xmlns:a16="http://schemas.microsoft.com/office/drawing/2014/main" id="{B9EC7145-A7AD-9D97-B5D8-D7C6C4197EA8}"/>
              </a:ext>
            </a:extLst>
          </p:cNvPr>
          <p:cNvGrpSpPr/>
          <p:nvPr/>
        </p:nvGrpSpPr>
        <p:grpSpPr>
          <a:xfrm>
            <a:off x="5966162" y="2382950"/>
            <a:ext cx="214434" cy="261022"/>
            <a:chOff x="5757290" y="2898545"/>
            <a:chExt cx="677417" cy="824595"/>
          </a:xfrm>
        </p:grpSpPr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EDE63BC0-EDC9-FE59-ABFB-2B137D7DF232}"/>
                </a:ext>
              </a:extLst>
            </p:cNvPr>
            <p:cNvSpPr/>
            <p:nvPr/>
          </p:nvSpPr>
          <p:spPr>
            <a:xfrm>
              <a:off x="5757290" y="2898545"/>
              <a:ext cx="677417" cy="824595"/>
            </a:xfrm>
            <a:custGeom>
              <a:avLst/>
              <a:gdLst>
                <a:gd name="connsiteX0" fmla="*/ 677418 w 677417"/>
                <a:gd name="connsiteY0" fmla="*/ 56314 h 824595"/>
                <a:gd name="connsiteX1" fmla="*/ 422910 w 677417"/>
                <a:gd name="connsiteY1" fmla="*/ 56314 h 824595"/>
                <a:gd name="connsiteX2" fmla="*/ 304727 w 677417"/>
                <a:gd name="connsiteY2" fmla="*/ 6591 h 824595"/>
                <a:gd name="connsiteX3" fmla="*/ 254603 w 677417"/>
                <a:gd name="connsiteY3" fmla="*/ 56314 h 824595"/>
                <a:gd name="connsiteX4" fmla="*/ 0 w 677417"/>
                <a:gd name="connsiteY4" fmla="*/ 56314 h 824595"/>
                <a:gd name="connsiteX5" fmla="*/ 0 w 677417"/>
                <a:gd name="connsiteY5" fmla="*/ 824596 h 824595"/>
                <a:gd name="connsiteX6" fmla="*/ 677418 w 677417"/>
                <a:gd name="connsiteY6" fmla="*/ 824596 h 824595"/>
                <a:gd name="connsiteX7" fmla="*/ 283940 w 677417"/>
                <a:gd name="connsiteY7" fmla="*/ 94109 h 824595"/>
                <a:gd name="connsiteX8" fmla="*/ 287179 w 677417"/>
                <a:gd name="connsiteY8" fmla="*/ 79180 h 824595"/>
                <a:gd name="connsiteX9" fmla="*/ 349903 w 677417"/>
                <a:gd name="connsiteY9" fmla="*/ 39072 h 824595"/>
                <a:gd name="connsiteX10" fmla="*/ 390335 w 677417"/>
                <a:gd name="connsiteY10" fmla="*/ 79180 h 824595"/>
                <a:gd name="connsiteX11" fmla="*/ 393573 w 677417"/>
                <a:gd name="connsiteY11" fmla="*/ 94109 h 824595"/>
                <a:gd name="connsiteX12" fmla="*/ 450723 w 677417"/>
                <a:gd name="connsiteY12" fmla="*/ 94109 h 824595"/>
                <a:gd name="connsiteX13" fmla="*/ 450723 w 677417"/>
                <a:gd name="connsiteY13" fmla="*/ 165448 h 824595"/>
                <a:gd name="connsiteX14" fmla="*/ 226790 w 677417"/>
                <a:gd name="connsiteY14" fmla="*/ 165448 h 824595"/>
                <a:gd name="connsiteX15" fmla="*/ 226790 w 677417"/>
                <a:gd name="connsiteY15" fmla="*/ 94109 h 824595"/>
                <a:gd name="connsiteX16" fmla="*/ 639318 w 677417"/>
                <a:gd name="connsiteY16" fmla="*/ 786801 h 824595"/>
                <a:gd name="connsiteX17" fmla="*/ 38100 w 677417"/>
                <a:gd name="connsiteY17" fmla="*/ 786801 h 824595"/>
                <a:gd name="connsiteX18" fmla="*/ 38100 w 677417"/>
                <a:gd name="connsiteY18" fmla="*/ 94109 h 824595"/>
                <a:gd name="connsiteX19" fmla="*/ 188690 w 677417"/>
                <a:gd name="connsiteY19" fmla="*/ 94109 h 824595"/>
                <a:gd name="connsiteX20" fmla="*/ 188690 w 677417"/>
                <a:gd name="connsiteY20" fmla="*/ 203243 h 824595"/>
                <a:gd name="connsiteX21" fmla="*/ 488728 w 677417"/>
                <a:gd name="connsiteY21" fmla="*/ 203243 h 824595"/>
                <a:gd name="connsiteX22" fmla="*/ 488728 w 677417"/>
                <a:gd name="connsiteY22" fmla="*/ 94109 h 824595"/>
                <a:gd name="connsiteX23" fmla="*/ 639318 w 677417"/>
                <a:gd name="connsiteY23" fmla="*/ 94109 h 82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77417" h="824595">
                  <a:moveTo>
                    <a:pt x="677418" y="56314"/>
                  </a:moveTo>
                  <a:lnTo>
                    <a:pt x="422910" y="56314"/>
                  </a:lnTo>
                  <a:cubicBezTo>
                    <a:pt x="404116" y="10209"/>
                    <a:pt x="351204" y="-12053"/>
                    <a:pt x="304727" y="6591"/>
                  </a:cubicBezTo>
                  <a:cubicBezTo>
                    <a:pt x="281916" y="15741"/>
                    <a:pt x="263827" y="33685"/>
                    <a:pt x="254603" y="56314"/>
                  </a:cubicBezTo>
                  <a:lnTo>
                    <a:pt x="0" y="56314"/>
                  </a:lnTo>
                  <a:lnTo>
                    <a:pt x="0" y="824596"/>
                  </a:lnTo>
                  <a:lnTo>
                    <a:pt x="677418" y="824596"/>
                  </a:lnTo>
                  <a:close/>
                  <a:moveTo>
                    <a:pt x="283940" y="94109"/>
                  </a:moveTo>
                  <a:lnTo>
                    <a:pt x="287179" y="79180"/>
                  </a:lnTo>
                  <a:cubicBezTo>
                    <a:pt x="293335" y="50922"/>
                    <a:pt x="321417" y="32965"/>
                    <a:pt x="349903" y="39072"/>
                  </a:cubicBezTo>
                  <a:cubicBezTo>
                    <a:pt x="370147" y="43412"/>
                    <a:pt x="385960" y="59098"/>
                    <a:pt x="390335" y="79180"/>
                  </a:cubicBezTo>
                  <a:lnTo>
                    <a:pt x="393573" y="94109"/>
                  </a:lnTo>
                  <a:lnTo>
                    <a:pt x="450723" y="94109"/>
                  </a:lnTo>
                  <a:lnTo>
                    <a:pt x="450723" y="165448"/>
                  </a:lnTo>
                  <a:lnTo>
                    <a:pt x="226790" y="165448"/>
                  </a:lnTo>
                  <a:lnTo>
                    <a:pt x="226790" y="94109"/>
                  </a:lnTo>
                  <a:close/>
                  <a:moveTo>
                    <a:pt x="639318" y="786801"/>
                  </a:moveTo>
                  <a:lnTo>
                    <a:pt x="38100" y="786801"/>
                  </a:lnTo>
                  <a:lnTo>
                    <a:pt x="38100" y="94109"/>
                  </a:lnTo>
                  <a:lnTo>
                    <a:pt x="188690" y="94109"/>
                  </a:lnTo>
                  <a:lnTo>
                    <a:pt x="188690" y="203243"/>
                  </a:lnTo>
                  <a:lnTo>
                    <a:pt x="488728" y="203243"/>
                  </a:lnTo>
                  <a:lnTo>
                    <a:pt x="488728" y="94109"/>
                  </a:lnTo>
                  <a:lnTo>
                    <a:pt x="639318" y="9410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7D09A10F-77CB-739E-F309-2378B0830C7A}"/>
                </a:ext>
              </a:extLst>
            </p:cNvPr>
            <p:cNvSpPr/>
            <p:nvPr/>
          </p:nvSpPr>
          <p:spPr>
            <a:xfrm>
              <a:off x="5881687" y="3208559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799F534B-8BB6-FF88-1D85-36E20FA4196B}"/>
                </a:ext>
              </a:extLst>
            </p:cNvPr>
            <p:cNvSpPr/>
            <p:nvPr/>
          </p:nvSpPr>
          <p:spPr>
            <a:xfrm>
              <a:off x="6079140" y="3263646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DCA79E9F-FDB9-5F5A-E1C3-12CAD396D5FD}"/>
                </a:ext>
              </a:extLst>
            </p:cNvPr>
            <p:cNvSpPr/>
            <p:nvPr/>
          </p:nvSpPr>
          <p:spPr>
            <a:xfrm>
              <a:off x="5881687" y="3435330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DE427F10-C7E8-FDEE-1CE1-7C7769D29AE0}"/>
                </a:ext>
              </a:extLst>
            </p:cNvPr>
            <p:cNvSpPr/>
            <p:nvPr/>
          </p:nvSpPr>
          <p:spPr>
            <a:xfrm>
              <a:off x="6079140" y="3490417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74" name="TextBox 33">
            <a:extLst>
              <a:ext uri="{FF2B5EF4-FFF2-40B4-BE49-F238E27FC236}">
                <a16:creationId xmlns:a16="http://schemas.microsoft.com/office/drawing/2014/main" id="{AEFD2E9B-5C6F-999A-AE40-9F58EC96418E}"/>
              </a:ext>
            </a:extLst>
          </p:cNvPr>
          <p:cNvSpPr txBox="1"/>
          <p:nvPr/>
        </p:nvSpPr>
        <p:spPr bwMode="gray">
          <a:xfrm>
            <a:off x="6352163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anal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75" name="Straight Connector 48">
            <a:extLst>
              <a:ext uri="{FF2B5EF4-FFF2-40B4-BE49-F238E27FC236}">
                <a16:creationId xmlns:a16="http://schemas.microsoft.com/office/drawing/2014/main" id="{D832014C-AE62-6305-4C2E-8017B0D37025}"/>
              </a:ext>
            </a:extLst>
          </p:cNvPr>
          <p:cNvCxnSpPr/>
          <p:nvPr/>
        </p:nvCxnSpPr>
        <p:spPr>
          <a:xfrm>
            <a:off x="5856347" y="2872119"/>
            <a:ext cx="2304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" descr="Canal 5 El Líder - Honduras Logo PNG Vector (CDR) Free Download">
            <a:extLst>
              <a:ext uri="{FF2B5EF4-FFF2-40B4-BE49-F238E27FC236}">
                <a16:creationId xmlns:a16="http://schemas.microsoft.com/office/drawing/2014/main" id="{591AE804-13C0-2749-8CA9-5DBA6FA8A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9681" y="3193596"/>
            <a:ext cx="479866" cy="339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2" descr="HCH Radio | HCH.TV">
            <a:extLst>
              <a:ext uri="{FF2B5EF4-FFF2-40B4-BE49-F238E27FC236}">
                <a16:creationId xmlns:a16="http://schemas.microsoft.com/office/drawing/2014/main" id="{F1A18B62-180B-C145-A849-086BCF7DE8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6348" r="-2838" b="33314"/>
          <a:stretch/>
        </p:blipFill>
        <p:spPr bwMode="auto">
          <a:xfrm>
            <a:off x="7002463" y="3193074"/>
            <a:ext cx="773654" cy="303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A38B20EC-6E2C-3649-A555-176610731A28}"/>
              </a:ext>
            </a:extLst>
          </p:cNvPr>
          <p:cNvCxnSpPr/>
          <p:nvPr/>
        </p:nvCxnSpPr>
        <p:spPr>
          <a:xfrm>
            <a:off x="6180596" y="3714750"/>
            <a:ext cx="1620379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73138D17-6FF9-AE4F-89D9-CD05F0FCB3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605836"/>
              </p:ext>
            </p:extLst>
          </p:nvPr>
        </p:nvGraphicFramePr>
        <p:xfrm>
          <a:off x="330511" y="2982614"/>
          <a:ext cx="5367431" cy="2549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TextBox 30">
            <a:extLst>
              <a:ext uri="{FF2B5EF4-FFF2-40B4-BE49-F238E27FC236}">
                <a16:creationId xmlns:a16="http://schemas.microsoft.com/office/drawing/2014/main" id="{596C2664-0837-594E-9EDD-E4AE62EC931D}"/>
              </a:ext>
            </a:extLst>
          </p:cNvPr>
          <p:cNvSpPr txBox="1"/>
          <p:nvPr/>
        </p:nvSpPr>
        <p:spPr bwMode="gray">
          <a:xfrm>
            <a:off x="4185007" y="793516"/>
            <a:ext cx="5318757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nunciant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de la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ompetenci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con mayor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ctividad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:</a:t>
            </a:r>
          </a:p>
        </p:txBody>
      </p:sp>
      <p:pic>
        <p:nvPicPr>
          <p:cNvPr id="1026" name="Picture 2" descr="VITAFLENACO - Farmamedica, S.A. Trademark Registration">
            <a:extLst>
              <a:ext uri="{FF2B5EF4-FFF2-40B4-BE49-F238E27FC236}">
                <a16:creationId xmlns:a16="http://schemas.microsoft.com/office/drawing/2014/main" id="{F57E86A1-7D1E-294E-9A31-D84A1C4CD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793" y="771297"/>
            <a:ext cx="1309382" cy="303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87053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V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Deporte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182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312502"/>
            <a:ext cx="236083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La presencia de la marca en eventos deportivos de televisión, a través de exposiciones animadas, representa una estrategia innovadora y efectiva para captar la atención de una audiencia masiva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sta estrategia ayudará a diferenciar a la marca en un mercado tan competitivo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25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182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377466" y="2285829"/>
            <a:ext cx="2391466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enció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interactiv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ntro de la transmission d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vento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deportivo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importante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(Liga Nacional) con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lcance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asiv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a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nivel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nacional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Utilizació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quet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frecuenci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olocad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iferent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spaci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par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aptar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ifernet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ublic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y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generar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repetició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a un bajo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osto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434396" y="2258238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97981C-7BD0-9B2D-BF62-60E1A1A7304D}"/>
              </a:ext>
            </a:extLst>
          </p:cNvPr>
          <p:cNvSpPr txBox="1"/>
          <p:nvPr/>
        </p:nvSpPr>
        <p:spPr>
          <a:xfrm>
            <a:off x="2251394" y="5521344"/>
            <a:ext cx="37564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Selección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los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ventos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deportivos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lásicos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para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segurar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lcance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420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8" name="Picture 6">
            <a:hlinkClick r:id="" action="ppaction://media"/>
            <a:extLst>
              <a:ext uri="{FF2B5EF4-FFF2-40B4-BE49-F238E27FC236}">
                <a16:creationId xmlns:a16="http://schemas.microsoft.com/office/drawing/2014/main" id="{BDFA7BD6-144E-164C-A648-A7BBB8D2903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/>
          <a:stretch>
            <a:fillRect/>
          </a:stretch>
        </p:blipFill>
        <p:spPr>
          <a:xfrm>
            <a:off x="6208989" y="1654835"/>
            <a:ext cx="5712324" cy="3213182"/>
          </a:xfrm>
          <a:prstGeom prst="rect">
            <a:avLst/>
          </a:prstGeom>
          <a:ln w="38100" cap="sq">
            <a:solidFill>
              <a:srgbClr val="006DA8"/>
            </a:solidFill>
            <a:prstDash val="solid"/>
          </a:ln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B827E5F0-9A9B-8340-B672-4A03444192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2768" y="432233"/>
            <a:ext cx="1380589" cy="38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839675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100000">
                <p:cTn id="2" fill="hold" display="0">
                  <p:stCondLst>
                    <p:cond delay="indefinite"/>
                  </p:stCondLst>
                </p:cTn>
                <p:tgtEl>
                  <p:spTgt spid="28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Radio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Indicencia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Deportes</a:t>
            </a:r>
            <a:br>
              <a:rPr lang="en-GB" dirty="0"/>
            </a:b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182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312502"/>
            <a:ext cx="236083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La presencia de Aleve en eventos deportivos radiales no solo amplifica la visibilidad de la marca, sino que también establece una conexión significativa con un público apasionado por el deporte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25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182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377466" y="2285829"/>
            <a:ext cx="239146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ntinuidad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con el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atrocini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incidenci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FALTA ALEV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las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ransmisione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Liga Nacional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la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aden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radial HRN d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bertur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nacional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L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rticiapció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barc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resenci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rogram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eporitv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ravé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mencion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y spots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434396" y="2258238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FE5C7998-D1A7-4242-98B3-9D061D9A5B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561" y="-18752"/>
            <a:ext cx="5743792" cy="6872547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420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9" name="Picture 2">
            <a:extLst>
              <a:ext uri="{FF2B5EF4-FFF2-40B4-BE49-F238E27FC236}">
                <a16:creationId xmlns:a16="http://schemas.microsoft.com/office/drawing/2014/main" id="{B827E5F0-9A9B-8340-B672-4A03444192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2848" y="432233"/>
            <a:ext cx="1380589" cy="38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9603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 err="1"/>
              <a:t>Exteriores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Gimnasio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759685"/>
            <a:ext cx="2360836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l fitness y el bienestar son áreas en constante evolución, por lo que al  ofrecer Aleve en gimnasios, se puede promover su uso como solución para aliviar el dolor y permitir a los usuarios continuar con sus rutinas sin interrupciones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ircut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18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ntall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(con video)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gimnasi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localizad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eguciglap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y San Pedro Sula,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97981C-7BD0-9B2D-BF62-60E1A1A7304D}"/>
              </a:ext>
            </a:extLst>
          </p:cNvPr>
          <p:cNvSpPr txBox="1"/>
          <p:nvPr/>
        </p:nvSpPr>
        <p:spPr>
          <a:xfrm>
            <a:off x="2272731" y="5364143"/>
            <a:ext cx="34986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i="1" dirty="0"/>
              <a:t>Estas propuestas han sido recomendadas, pero aún no se han implementado en nuestro país."</a:t>
            </a:r>
            <a:endParaRPr kumimoji="0" lang="en-GB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30" name="Marcador de posición de imagen 29">
            <a:extLst>
              <a:ext uri="{FF2B5EF4-FFF2-40B4-BE49-F238E27FC236}">
                <a16:creationId xmlns:a16="http://schemas.microsoft.com/office/drawing/2014/main" id="{AE3EDB76-2BB7-B647-91C0-1BC7A18D5C3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61" b="9361"/>
          <a:stretch>
            <a:fillRect/>
          </a:stretch>
        </p:blipFill>
        <p:spPr/>
      </p:pic>
      <p:pic>
        <p:nvPicPr>
          <p:cNvPr id="31" name="Picture 2">
            <a:extLst>
              <a:ext uri="{FF2B5EF4-FFF2-40B4-BE49-F238E27FC236}">
                <a16:creationId xmlns:a16="http://schemas.microsoft.com/office/drawing/2014/main" id="{4324C663-195E-4640-9AD8-FEC78F2A5A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2768" y="432233"/>
            <a:ext cx="1380589" cy="38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19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>
            <a:extLst>
              <a:ext uri="{FF2B5EF4-FFF2-40B4-BE49-F238E27FC236}">
                <a16:creationId xmlns:a16="http://schemas.microsoft.com/office/drawing/2014/main" id="{0203D953-07AC-3DAD-926F-39319647605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l="19116" t="6339" b="25454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AA744B-5793-D28B-04AF-BEF4E99ED8B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>
                <a:solidFill>
                  <a:schemeClr val="tx1"/>
                </a:solidFill>
              </a:rPr>
              <a:pPr/>
              <a:t>7</a:t>
            </a:fld>
            <a:endParaRPr lang="en-GB">
              <a:solidFill>
                <a:schemeClr val="tx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D60C965-EACB-AF80-1F2F-4FE076C748A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4877"/>
          <a:stretch/>
        </p:blipFill>
        <p:spPr>
          <a:xfrm>
            <a:off x="0" y="3491352"/>
            <a:ext cx="4836576" cy="10104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8956634-FD66-55E5-9422-3168AC881E12}"/>
              </a:ext>
            </a:extLst>
          </p:cNvPr>
          <p:cNvSpPr txBox="1"/>
          <p:nvPr/>
        </p:nvSpPr>
        <p:spPr>
          <a:xfrm>
            <a:off x="5683360" y="3491352"/>
            <a:ext cx="462017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0"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t>THANK YOU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AFACCDD-A159-11A7-25D4-0470CF8BF4E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" r="89662"/>
          <a:stretch/>
        </p:blipFill>
        <p:spPr>
          <a:xfrm>
            <a:off x="11295946" y="3491352"/>
            <a:ext cx="904407" cy="1010472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2B617A-C70B-E681-3C3E-6D9962763D2C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8AC35BE4-9D90-C83B-09B3-FA8038676F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619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0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Bayer x EM Template">
  <a:themeElements>
    <a:clrScheme name="Bayer 2023">
      <a:dk1>
        <a:srgbClr val="000000"/>
      </a:dk1>
      <a:lt1>
        <a:srgbClr val="FFFFFF"/>
      </a:lt1>
      <a:dk2>
        <a:srgbClr val="00BCFF"/>
      </a:dk2>
      <a:lt2>
        <a:srgbClr val="F5F5F5"/>
      </a:lt2>
      <a:accent1>
        <a:srgbClr val="00BCFF"/>
      </a:accent1>
      <a:accent2>
        <a:srgbClr val="89D328"/>
      </a:accent2>
      <a:accent3>
        <a:srgbClr val="3353D0"/>
      </a:accent3>
      <a:accent4>
        <a:srgbClr val="61E1E0"/>
      </a:accent4>
      <a:accent5>
        <a:srgbClr val="FC3D80"/>
      </a:accent5>
      <a:accent6>
        <a:srgbClr val="E2DBD7"/>
      </a:accent6>
      <a:hlink>
        <a:srgbClr val="00BCFF"/>
      </a:hlink>
      <a:folHlink>
        <a:srgbClr val="00BCFF"/>
      </a:folHlink>
    </a:clrScheme>
    <a:fontScheme name="Test">
      <a:majorFont>
        <a:latin typeface="Poppins-SemiBold"/>
        <a:ea typeface=""/>
        <a:cs typeface=""/>
      </a:majorFont>
      <a:minorFont>
        <a:latin typeface="Poppins-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gradFill flip="none" rotWithShape="1">
            <a:gsLst>
              <a:gs pos="0">
                <a:schemeClr val="accent2"/>
              </a:gs>
              <a:gs pos="99000">
                <a:schemeClr val="tx2"/>
              </a:gs>
            </a:gsLst>
            <a:lin ang="0" scaled="1"/>
            <a:tileRect/>
          </a:gra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5.xml><?xml version="1.0" encoding="utf-8"?>
<a:theme xmlns:a="http://schemas.openxmlformats.org/drawingml/2006/main" name="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Bayer x MC // June 2021">
  <a:themeElements>
    <a:clrScheme name="Bayer Share and Scale Colours 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Bayer x MC // June 2021">
  <a:themeElements>
    <a:clrScheme name="Bayer 2021 Colour Theme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FF9914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B94F34BE25844A86FA9DAE1C52FEF1" ma:contentTypeVersion="16" ma:contentTypeDescription="Create a new document." ma:contentTypeScope="" ma:versionID="0d11d6f25eccfdb65008e43f9fc87a79">
  <xsd:schema xmlns:xsd="http://www.w3.org/2001/XMLSchema" xmlns:xs="http://www.w3.org/2001/XMLSchema" xmlns:p="http://schemas.microsoft.com/office/2006/metadata/properties" xmlns:ns2="ddd732a4-5925-4a41-9a76-3e713d750e73" xmlns:ns3="642023b6-027f-42b2-ae3f-68219e5a4115" targetNamespace="http://schemas.microsoft.com/office/2006/metadata/properties" ma:root="true" ma:fieldsID="12867037fb90038efca3950b7f6165db" ns2:_="" ns3:_="">
    <xsd:import namespace="ddd732a4-5925-4a41-9a76-3e713d750e73"/>
    <xsd:import namespace="642023b6-027f-42b2-ae3f-68219e5a41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d732a4-5925-4a41-9a76-3e713d750e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b8c6112-a551-416c-b446-07c3fc3d0d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023b6-027f-42b2-ae3f-68219e5a411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b23bbc7-fbbf-45f3-bf5a-f347bc23a60a}" ma:internalName="TaxCatchAll" ma:showField="CatchAllData" ma:web="642023b6-027f-42b2-ae3f-68219e5a41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2023b6-027f-42b2-ae3f-68219e5a4115" xsi:nil="true"/>
    <lcf76f155ced4ddcb4097134ff3c332f xmlns="ddd732a4-5925-4a41-9a76-3e713d750e7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4DBA1F-0D4B-4898-AA87-1771EA4B27A1}">
  <ds:schemaRefs>
    <ds:schemaRef ds:uri="642023b6-027f-42b2-ae3f-68219e5a4115"/>
    <ds:schemaRef ds:uri="ddd732a4-5925-4a41-9a76-3e713d750e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409161F-846A-4C10-9E69-A82A45711D9D}">
  <ds:schemaRefs>
    <ds:schemaRef ds:uri="642023b6-027f-42b2-ae3f-68219e5a4115"/>
    <ds:schemaRef ds:uri="ddd732a4-5925-4a41-9a76-3e713d750e7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C2BB7E1-7F3B-4741-BA22-30E5E778D5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5</TotalTime>
  <Words>524</Words>
  <Application>Microsoft Macintosh PowerPoint</Application>
  <PresentationFormat>Panorámica</PresentationFormat>
  <Paragraphs>143</Paragraphs>
  <Slides>7</Slides>
  <Notes>0</Notes>
  <HiddenSlides>0</HiddenSlides>
  <MMClips>1</MMClips>
  <ScaleCrop>false</ScaleCrop>
  <HeadingPairs>
    <vt:vector size="6" baseType="variant">
      <vt:variant>
        <vt:lpstr>Fuentes usadas</vt:lpstr>
      </vt:variant>
      <vt:variant>
        <vt:i4>12</vt:i4>
      </vt:variant>
      <vt:variant>
        <vt:lpstr>Tema</vt:lpstr>
      </vt:variant>
      <vt:variant>
        <vt:i4>11</vt:i4>
      </vt:variant>
      <vt:variant>
        <vt:lpstr>Títulos de diapositiva</vt:lpstr>
      </vt:variant>
      <vt:variant>
        <vt:i4>7</vt:i4>
      </vt:variant>
    </vt:vector>
  </HeadingPairs>
  <TitlesOfParts>
    <vt:vector size="30" baseType="lpstr">
      <vt:lpstr>Arial</vt:lpstr>
      <vt:lpstr>Calibri</vt:lpstr>
      <vt:lpstr>Century Gothic</vt:lpstr>
      <vt:lpstr>Georgia Pro Light</vt:lpstr>
      <vt:lpstr>Poppins</vt:lpstr>
      <vt:lpstr>Poppins ExtraLight</vt:lpstr>
      <vt:lpstr>Poppins Light</vt:lpstr>
      <vt:lpstr>Poppins SemiBold</vt:lpstr>
      <vt:lpstr>Poppins Thin</vt:lpstr>
      <vt:lpstr>Poppins-Regular</vt:lpstr>
      <vt:lpstr>Poppins-SemiBold</vt:lpstr>
      <vt:lpstr>System Font Regular</vt:lpstr>
      <vt:lpstr>Bayer2022</vt:lpstr>
      <vt:lpstr>Bayer x MC // June 2021</vt:lpstr>
      <vt:lpstr>1_Bayer x MC // June 2021</vt:lpstr>
      <vt:lpstr>Bayer2023</vt:lpstr>
      <vt:lpstr>emTemplate // Jan 2023</vt:lpstr>
      <vt:lpstr>2_Bayer x MC // June 2021</vt:lpstr>
      <vt:lpstr>2_emTemplate // Jan 2023</vt:lpstr>
      <vt:lpstr>3_emTemplate // Jan 2023</vt:lpstr>
      <vt:lpstr>3_Bayer x MC // June 2021</vt:lpstr>
      <vt:lpstr>1_Bayer x MC // June 2021</vt:lpstr>
      <vt:lpstr>Bayer x EM Template</vt:lpstr>
      <vt:lpstr>MEDIA MIX</vt:lpstr>
      <vt:lpstr>Presentación de PowerPoint</vt:lpstr>
      <vt:lpstr>Alcance TV, H/M 30-59</vt:lpstr>
      <vt:lpstr>TV Deportes</vt:lpstr>
      <vt:lpstr>Radio Indicencia Deportes </vt:lpstr>
      <vt:lpstr>Exteriores Gimnasios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ourdes Hernandez</dc:creator>
  <cp:lastModifiedBy>Microsoft Office User</cp:lastModifiedBy>
  <cp:revision>24</cp:revision>
  <dcterms:created xsi:type="dcterms:W3CDTF">2023-05-24T18:22:33Z</dcterms:created>
  <dcterms:modified xsi:type="dcterms:W3CDTF">2024-10-14T01:1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94F34BE25844A86FA9DAE1C52FEF1</vt:lpwstr>
  </property>
  <property fmtid="{D5CDD505-2E9C-101B-9397-08002B2CF9AE}" pid="3" name="MediaServiceImageTags">
    <vt:lpwstr/>
  </property>
</Properties>
</file>